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68" r:id="rId2"/>
    <p:sldId id="265" r:id="rId3"/>
    <p:sldId id="261" r:id="rId4"/>
    <p:sldId id="256" r:id="rId5"/>
    <p:sldId id="266" r:id="rId6"/>
    <p:sldId id="264" r:id="rId7"/>
    <p:sldId id="267" r:id="rId8"/>
    <p:sldId id="260" r:id="rId9"/>
    <p:sldId id="262"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am Muffitt" initials="AM" lastIdx="1" clrIdx="0">
    <p:extLst>
      <p:ext uri="{19B8F6BF-5375-455C-9EA6-DF929625EA0E}">
        <p15:presenceInfo xmlns:p15="http://schemas.microsoft.com/office/powerpoint/2012/main" userId="f87af694dad07f1b" providerId="Windows Live"/>
      </p:ext>
    </p:extLst>
  </p:cmAuthor>
  <p:cmAuthor id="2" name="Sharon Shandukani" initials="SS" lastIdx="2" clrIdx="1">
    <p:extLst>
      <p:ext uri="{19B8F6BF-5375-455C-9EA6-DF929625EA0E}">
        <p15:presenceInfo xmlns:p15="http://schemas.microsoft.com/office/powerpoint/2012/main" userId="b3f2d01030c4b3d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39BA54-D8F4-4391-8F65-E8787D51B889}" v="52" dt="2020-03-11T02:00:01.9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7" d="100"/>
          <a:sy n="87" d="100"/>
        </p:scale>
        <p:origin x="51" y="4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am Muffitt" userId="f87af694dad07f1b" providerId="LiveId" clId="{A1F79236-EC96-46C6-AAC3-711E24056922}"/>
    <pc:docChg chg="undo custSel addSld delSld modSld sldOrd">
      <pc:chgData name="Adam Muffitt" userId="f87af694dad07f1b" providerId="LiveId" clId="{A1F79236-EC96-46C6-AAC3-711E24056922}" dt="2020-03-10T20:19:46.896" v="5285" actId="1076"/>
      <pc:docMkLst>
        <pc:docMk/>
      </pc:docMkLst>
      <pc:sldChg chg="addSp delSp modSp add mod ord">
        <pc:chgData name="Adam Muffitt" userId="f87af694dad07f1b" providerId="LiveId" clId="{A1F79236-EC96-46C6-AAC3-711E24056922}" dt="2020-03-10T20:12:21.394" v="4909" actId="255"/>
        <pc:sldMkLst>
          <pc:docMk/>
          <pc:sldMk cId="1795855356" sldId="256"/>
        </pc:sldMkLst>
        <pc:spChg chg="del">
          <ac:chgData name="Adam Muffitt" userId="f87af694dad07f1b" providerId="LiveId" clId="{A1F79236-EC96-46C6-AAC3-711E24056922}" dt="2020-03-10T19:54:48.159" v="4328" actId="478"/>
          <ac:spMkLst>
            <pc:docMk/>
            <pc:sldMk cId="1795855356" sldId="256"/>
            <ac:spMk id="5" creationId="{3F3291EB-288D-4AC6-9C89-CEDA5C617AA2}"/>
          </ac:spMkLst>
        </pc:spChg>
        <pc:spChg chg="add mod">
          <ac:chgData name="Adam Muffitt" userId="f87af694dad07f1b" providerId="LiveId" clId="{A1F79236-EC96-46C6-AAC3-711E24056922}" dt="2020-03-10T19:13:06.577" v="3081" actId="1076"/>
          <ac:spMkLst>
            <pc:docMk/>
            <pc:sldMk cId="1795855356" sldId="256"/>
            <ac:spMk id="6" creationId="{BE848EFB-6AB5-4815-96A3-7FC13F8F2100}"/>
          </ac:spMkLst>
        </pc:spChg>
        <pc:spChg chg="del">
          <ac:chgData name="Adam Muffitt" userId="f87af694dad07f1b" providerId="LiveId" clId="{A1F79236-EC96-46C6-AAC3-711E24056922}" dt="2020-03-10T19:54:58.195" v="4331" actId="478"/>
          <ac:spMkLst>
            <pc:docMk/>
            <pc:sldMk cId="1795855356" sldId="256"/>
            <ac:spMk id="7" creationId="{37E83255-4391-44EB-B4C9-0EECA19EE14C}"/>
          </ac:spMkLst>
        </pc:spChg>
        <pc:spChg chg="mod">
          <ac:chgData name="Adam Muffitt" userId="f87af694dad07f1b" providerId="LiveId" clId="{A1F79236-EC96-46C6-AAC3-711E24056922}" dt="2020-03-10T20:11:19.235" v="4870" actId="12"/>
          <ac:spMkLst>
            <pc:docMk/>
            <pc:sldMk cId="1795855356" sldId="256"/>
            <ac:spMk id="8" creationId="{02EF3836-8F56-408D-BEC0-C2BD95EDBA92}"/>
          </ac:spMkLst>
        </pc:spChg>
        <pc:spChg chg="add del">
          <ac:chgData name="Adam Muffitt" userId="f87af694dad07f1b" providerId="LiveId" clId="{A1F79236-EC96-46C6-AAC3-711E24056922}" dt="2020-03-10T19:54:55.199" v="4330"/>
          <ac:spMkLst>
            <pc:docMk/>
            <pc:sldMk cId="1795855356" sldId="256"/>
            <ac:spMk id="9" creationId="{D8CD8378-40A5-40AC-8372-B8B9AF14907D}"/>
          </ac:spMkLst>
        </pc:spChg>
        <pc:spChg chg="add mod">
          <ac:chgData name="Adam Muffitt" userId="f87af694dad07f1b" providerId="LiveId" clId="{A1F79236-EC96-46C6-AAC3-711E24056922}" dt="2020-03-10T20:12:21.394" v="4909" actId="255"/>
          <ac:spMkLst>
            <pc:docMk/>
            <pc:sldMk cId="1795855356" sldId="256"/>
            <ac:spMk id="10" creationId="{B3C933EF-B2CE-4EE3-904E-1AA625F8C263}"/>
          </ac:spMkLst>
        </pc:spChg>
        <pc:spChg chg="add mod">
          <ac:chgData name="Adam Muffitt" userId="f87af694dad07f1b" providerId="LiveId" clId="{A1F79236-EC96-46C6-AAC3-711E24056922}" dt="2020-03-10T20:10:55.663" v="4868" actId="20577"/>
          <ac:spMkLst>
            <pc:docMk/>
            <pc:sldMk cId="1795855356" sldId="256"/>
            <ac:spMk id="12" creationId="{CFB4C205-005F-4DFD-9D08-CAA464FB5FD1}"/>
          </ac:spMkLst>
        </pc:spChg>
        <pc:picChg chg="mod">
          <ac:chgData name="Adam Muffitt" userId="f87af694dad07f1b" providerId="LiveId" clId="{A1F79236-EC96-46C6-AAC3-711E24056922}" dt="2020-03-10T20:01:47.098" v="4689" actId="1076"/>
          <ac:picMkLst>
            <pc:docMk/>
            <pc:sldMk cId="1795855356" sldId="256"/>
            <ac:picMk id="4" creationId="{11F79B95-D9A3-41D8-A5EE-42C46E78FB10}"/>
          </ac:picMkLst>
        </pc:picChg>
        <pc:picChg chg="add mod">
          <ac:chgData name="Adam Muffitt" userId="f87af694dad07f1b" providerId="LiveId" clId="{A1F79236-EC96-46C6-AAC3-711E24056922}" dt="2020-03-10T20:01:56.890" v="4692" actId="14100"/>
          <ac:picMkLst>
            <pc:docMk/>
            <pc:sldMk cId="1795855356" sldId="256"/>
            <ac:picMk id="11" creationId="{F946CEAC-5BEE-4FD3-AE27-F8C46745A915}"/>
          </ac:picMkLst>
        </pc:picChg>
      </pc:sldChg>
      <pc:sldChg chg="addSp modSp add del mod ord">
        <pc:chgData name="Adam Muffitt" userId="f87af694dad07f1b" providerId="LiveId" clId="{A1F79236-EC96-46C6-AAC3-711E24056922}" dt="2020-03-10T20:07:06.176" v="4732" actId="47"/>
        <pc:sldMkLst>
          <pc:docMk/>
          <pc:sldMk cId="544875971" sldId="257"/>
        </pc:sldMkLst>
        <pc:spChg chg="add mod">
          <ac:chgData name="Adam Muffitt" userId="f87af694dad07f1b" providerId="LiveId" clId="{A1F79236-EC96-46C6-AAC3-711E24056922}" dt="2020-03-10T19:13:16.090" v="3083" actId="1076"/>
          <ac:spMkLst>
            <pc:docMk/>
            <pc:sldMk cId="544875971" sldId="257"/>
            <ac:spMk id="8" creationId="{01D5DCC5-4EFC-4A7C-AB33-6993B614D83F}"/>
          </ac:spMkLst>
        </pc:spChg>
      </pc:sldChg>
      <pc:sldChg chg="add del">
        <pc:chgData name="Adam Muffitt" userId="f87af694dad07f1b" providerId="LiveId" clId="{A1F79236-EC96-46C6-AAC3-711E24056922}" dt="2020-03-10T20:06:24.636" v="4730" actId="47"/>
        <pc:sldMkLst>
          <pc:docMk/>
          <pc:sldMk cId="977020469" sldId="259"/>
        </pc:sldMkLst>
      </pc:sldChg>
      <pc:sldChg chg="addSp modSp mod ord">
        <pc:chgData name="Adam Muffitt" userId="f87af694dad07f1b" providerId="LiveId" clId="{A1F79236-EC96-46C6-AAC3-711E24056922}" dt="2020-03-10T19:53:31.052" v="4323"/>
        <pc:sldMkLst>
          <pc:docMk/>
          <pc:sldMk cId="0" sldId="260"/>
        </pc:sldMkLst>
        <pc:spChg chg="mod">
          <ac:chgData name="Adam Muffitt" userId="f87af694dad07f1b" providerId="LiveId" clId="{A1F79236-EC96-46C6-AAC3-711E24056922}" dt="2020-03-10T18:51:45.075" v="2736" actId="20577"/>
          <ac:spMkLst>
            <pc:docMk/>
            <pc:sldMk cId="0" sldId="260"/>
            <ac:spMk id="5" creationId="{16875CC6-72E5-4978-8595-9540ECD4C77C}"/>
          </ac:spMkLst>
        </pc:spChg>
        <pc:spChg chg="add mod">
          <ac:chgData name="Adam Muffitt" userId="f87af694dad07f1b" providerId="LiveId" clId="{A1F79236-EC96-46C6-AAC3-711E24056922}" dt="2020-03-10T19:12:38.978" v="3072" actId="1076"/>
          <ac:spMkLst>
            <pc:docMk/>
            <pc:sldMk cId="0" sldId="260"/>
            <ac:spMk id="20" creationId="{11DC398F-9CF5-4333-86A7-CCA48D716762}"/>
          </ac:spMkLst>
        </pc:spChg>
        <pc:spChg chg="mod">
          <ac:chgData name="Adam Muffitt" userId="f87af694dad07f1b" providerId="LiveId" clId="{A1F79236-EC96-46C6-AAC3-711E24056922}" dt="2020-03-10T19:14:16.478" v="3087" actId="255"/>
          <ac:spMkLst>
            <pc:docMk/>
            <pc:sldMk cId="0" sldId="260"/>
            <ac:spMk id="182" creationId="{00000000-0000-0000-0000-000000000000}"/>
          </ac:spMkLst>
        </pc:spChg>
      </pc:sldChg>
      <pc:sldChg chg="addSp delSp modSp mod ord">
        <pc:chgData name="Adam Muffitt" userId="f87af694dad07f1b" providerId="LiveId" clId="{A1F79236-EC96-46C6-AAC3-711E24056922}" dt="2020-03-10T19:41:06.735" v="4129" actId="692"/>
        <pc:sldMkLst>
          <pc:docMk/>
          <pc:sldMk cId="2053780298" sldId="261"/>
        </pc:sldMkLst>
        <pc:spChg chg="add mod">
          <ac:chgData name="Adam Muffitt" userId="f87af694dad07f1b" providerId="LiveId" clId="{A1F79236-EC96-46C6-AAC3-711E24056922}" dt="2020-03-10T19:06:00.930" v="2991" actId="1076"/>
          <ac:spMkLst>
            <pc:docMk/>
            <pc:sldMk cId="2053780298" sldId="261"/>
            <ac:spMk id="3" creationId="{80E2FEAD-6B5F-434E-A1D7-F378B492BE1B}"/>
          </ac:spMkLst>
        </pc:spChg>
        <pc:spChg chg="mod">
          <ac:chgData name="Adam Muffitt" userId="f87af694dad07f1b" providerId="LiveId" clId="{A1F79236-EC96-46C6-AAC3-711E24056922}" dt="2020-03-10T19:11:49.628" v="3064" actId="20577"/>
          <ac:spMkLst>
            <pc:docMk/>
            <pc:sldMk cId="2053780298" sldId="261"/>
            <ac:spMk id="4" creationId="{E2816C99-5E4F-4B2A-B5FC-EA3FE48BF2A8}"/>
          </ac:spMkLst>
        </pc:spChg>
        <pc:spChg chg="add del mod">
          <ac:chgData name="Adam Muffitt" userId="f87af694dad07f1b" providerId="LiveId" clId="{A1F79236-EC96-46C6-AAC3-711E24056922}" dt="2020-03-10T19:04:46.871" v="2984" actId="478"/>
          <ac:spMkLst>
            <pc:docMk/>
            <pc:sldMk cId="2053780298" sldId="261"/>
            <ac:spMk id="18" creationId="{3D5593AA-DC8E-4B97-A106-D6AC5AB126EB}"/>
          </ac:spMkLst>
        </pc:spChg>
        <pc:spChg chg="add mod">
          <ac:chgData name="Adam Muffitt" userId="f87af694dad07f1b" providerId="LiveId" clId="{A1F79236-EC96-46C6-AAC3-711E24056922}" dt="2020-03-10T19:12:03.145" v="3068" actId="1076"/>
          <ac:spMkLst>
            <pc:docMk/>
            <pc:sldMk cId="2053780298" sldId="261"/>
            <ac:spMk id="21" creationId="{76343B63-179D-4242-8071-24DCD42FAEF7}"/>
          </ac:spMkLst>
        </pc:spChg>
        <pc:spChg chg="mod">
          <ac:chgData name="Adam Muffitt" userId="f87af694dad07f1b" providerId="LiveId" clId="{A1F79236-EC96-46C6-AAC3-711E24056922}" dt="2020-03-10T19:14:07.011" v="3086" actId="255"/>
          <ac:spMkLst>
            <pc:docMk/>
            <pc:sldMk cId="2053780298" sldId="261"/>
            <ac:spMk id="182" creationId="{00000000-0000-0000-0000-000000000000}"/>
          </ac:spMkLst>
        </pc:spChg>
        <pc:picChg chg="mod">
          <ac:chgData name="Adam Muffitt" userId="f87af694dad07f1b" providerId="LiveId" clId="{A1F79236-EC96-46C6-AAC3-711E24056922}" dt="2020-03-10T19:11:57.393" v="3067" actId="1076"/>
          <ac:picMkLst>
            <pc:docMk/>
            <pc:sldMk cId="2053780298" sldId="261"/>
            <ac:picMk id="22" creationId="{D73255FA-7409-468D-B9B1-29DB8CA40CE1}"/>
          </ac:picMkLst>
        </pc:picChg>
        <pc:cxnChg chg="mod">
          <ac:chgData name="Adam Muffitt" userId="f87af694dad07f1b" providerId="LiveId" clId="{A1F79236-EC96-46C6-AAC3-711E24056922}" dt="2020-03-10T19:41:06.735" v="4129" actId="692"/>
          <ac:cxnSpMkLst>
            <pc:docMk/>
            <pc:sldMk cId="2053780298" sldId="261"/>
            <ac:cxnSpMk id="5" creationId="{7DA86EDA-097F-4D83-B4F4-AB5F5F43750A}"/>
          </ac:cxnSpMkLst>
        </pc:cxnChg>
        <pc:cxnChg chg="mod">
          <ac:chgData name="Adam Muffitt" userId="f87af694dad07f1b" providerId="LiveId" clId="{A1F79236-EC96-46C6-AAC3-711E24056922}" dt="2020-03-10T19:41:03.343" v="4127" actId="692"/>
          <ac:cxnSpMkLst>
            <pc:docMk/>
            <pc:sldMk cId="2053780298" sldId="261"/>
            <ac:cxnSpMk id="14" creationId="{94CA78C7-B239-4048-9CAA-A60139C3285C}"/>
          </ac:cxnSpMkLst>
        </pc:cxnChg>
        <pc:cxnChg chg="mod">
          <ac:chgData name="Adam Muffitt" userId="f87af694dad07f1b" providerId="LiveId" clId="{A1F79236-EC96-46C6-AAC3-711E24056922}" dt="2020-03-10T19:40:54.325" v="4119" actId="692"/>
          <ac:cxnSpMkLst>
            <pc:docMk/>
            <pc:sldMk cId="2053780298" sldId="261"/>
            <ac:cxnSpMk id="24" creationId="{9B7E6C46-57E9-48CC-B9A7-7FA3CFA5D927}"/>
          </ac:cxnSpMkLst>
        </pc:cxnChg>
        <pc:cxnChg chg="mod">
          <ac:chgData name="Adam Muffitt" userId="f87af694dad07f1b" providerId="LiveId" clId="{A1F79236-EC96-46C6-AAC3-711E24056922}" dt="2020-03-10T19:40:45.559" v="4117" actId="692"/>
          <ac:cxnSpMkLst>
            <pc:docMk/>
            <pc:sldMk cId="2053780298" sldId="261"/>
            <ac:cxnSpMk id="25" creationId="{6C023AED-F655-4B84-9ABC-FC992249B804}"/>
          </ac:cxnSpMkLst>
        </pc:cxnChg>
        <pc:cxnChg chg="mod">
          <ac:chgData name="Adam Muffitt" userId="f87af694dad07f1b" providerId="LiveId" clId="{A1F79236-EC96-46C6-AAC3-711E24056922}" dt="2020-03-10T19:40:59.911" v="4123" actId="692"/>
          <ac:cxnSpMkLst>
            <pc:docMk/>
            <pc:sldMk cId="2053780298" sldId="261"/>
            <ac:cxnSpMk id="28" creationId="{5B3784BD-1692-40C0-8EBE-2BBBBB30E460}"/>
          </ac:cxnSpMkLst>
        </pc:cxnChg>
        <pc:cxnChg chg="mod">
          <ac:chgData name="Adam Muffitt" userId="f87af694dad07f1b" providerId="LiveId" clId="{A1F79236-EC96-46C6-AAC3-711E24056922}" dt="2020-03-10T19:40:57.343" v="4121" actId="692"/>
          <ac:cxnSpMkLst>
            <pc:docMk/>
            <pc:sldMk cId="2053780298" sldId="261"/>
            <ac:cxnSpMk id="29" creationId="{FCE7C9CA-522A-45CF-954F-861436C453BB}"/>
          </ac:cxnSpMkLst>
        </pc:cxnChg>
      </pc:sldChg>
      <pc:sldChg chg="addSp ord">
        <pc:chgData name="Adam Muffitt" userId="f87af694dad07f1b" providerId="LiveId" clId="{A1F79236-EC96-46C6-AAC3-711E24056922}" dt="2020-03-10T19:53:23.684" v="4321"/>
        <pc:sldMkLst>
          <pc:docMk/>
          <pc:sldMk cId="256898935" sldId="262"/>
        </pc:sldMkLst>
        <pc:spChg chg="add">
          <ac:chgData name="Adam Muffitt" userId="f87af694dad07f1b" providerId="LiveId" clId="{A1F79236-EC96-46C6-AAC3-711E24056922}" dt="2020-03-10T19:13:21.030" v="3084"/>
          <ac:spMkLst>
            <pc:docMk/>
            <pc:sldMk cId="256898935" sldId="262"/>
            <ac:spMk id="12" creationId="{C5FAE3A1-E441-4E2A-B3A9-8095234D7BD3}"/>
          </ac:spMkLst>
        </pc:spChg>
      </pc:sldChg>
      <pc:sldChg chg="add del">
        <pc:chgData name="Adam Muffitt" userId="f87af694dad07f1b" providerId="LiveId" clId="{A1F79236-EC96-46C6-AAC3-711E24056922}" dt="2020-03-10T20:06:35.849" v="4731" actId="47"/>
        <pc:sldMkLst>
          <pc:docMk/>
          <pc:sldMk cId="2625041998" sldId="263"/>
        </pc:sldMkLst>
      </pc:sldChg>
      <pc:sldChg chg="addSp modSp add mod ord">
        <pc:chgData name="Adam Muffitt" userId="f87af694dad07f1b" providerId="LiveId" clId="{A1F79236-EC96-46C6-AAC3-711E24056922}" dt="2020-03-10T20:05:28.306" v="4729" actId="14100"/>
        <pc:sldMkLst>
          <pc:docMk/>
          <pc:sldMk cId="705546220" sldId="264"/>
        </pc:sldMkLst>
        <pc:spChg chg="add mod">
          <ac:chgData name="Adam Muffitt" userId="f87af694dad07f1b" providerId="LiveId" clId="{A1F79236-EC96-46C6-AAC3-711E24056922}" dt="2020-03-10T19:49:20.469" v="4237" actId="313"/>
          <ac:spMkLst>
            <pc:docMk/>
            <pc:sldMk cId="705546220" sldId="264"/>
            <ac:spMk id="5" creationId="{988E07B1-9E28-4736-8047-E26A2665471F}"/>
          </ac:spMkLst>
        </pc:spChg>
        <pc:spChg chg="add mod">
          <ac:chgData name="Adam Muffitt" userId="f87af694dad07f1b" providerId="LiveId" clId="{A1F79236-EC96-46C6-AAC3-711E24056922}" dt="2020-03-10T19:50:41.116" v="4245" actId="1076"/>
          <ac:spMkLst>
            <pc:docMk/>
            <pc:sldMk cId="705546220" sldId="264"/>
            <ac:spMk id="6" creationId="{5F7B8F06-109D-410A-A12F-A60503FEB7E6}"/>
          </ac:spMkLst>
        </pc:spChg>
        <pc:spChg chg="mod">
          <ac:chgData name="Adam Muffitt" userId="f87af694dad07f1b" providerId="LiveId" clId="{A1F79236-EC96-46C6-AAC3-711E24056922}" dt="2020-03-10T19:51:06.424" v="4248" actId="255"/>
          <ac:spMkLst>
            <pc:docMk/>
            <pc:sldMk cId="705546220" sldId="264"/>
            <ac:spMk id="7" creationId="{87A42A02-533C-4B86-86B7-9E67A8C4FF7B}"/>
          </ac:spMkLst>
        </pc:spChg>
        <pc:spChg chg="add mod">
          <ac:chgData name="Adam Muffitt" userId="f87af694dad07f1b" providerId="LiveId" clId="{A1F79236-EC96-46C6-AAC3-711E24056922}" dt="2020-03-10T20:05:28.306" v="4729" actId="14100"/>
          <ac:spMkLst>
            <pc:docMk/>
            <pc:sldMk cId="705546220" sldId="264"/>
            <ac:spMk id="8" creationId="{23475D6C-E919-4B1B-BDA8-B4D9C70723F9}"/>
          </ac:spMkLst>
        </pc:spChg>
        <pc:spChg chg="add mod">
          <ac:chgData name="Adam Muffitt" userId="f87af694dad07f1b" providerId="LiveId" clId="{A1F79236-EC96-46C6-AAC3-711E24056922}" dt="2020-03-10T19:51:54.322" v="4313" actId="20577"/>
          <ac:spMkLst>
            <pc:docMk/>
            <pc:sldMk cId="705546220" sldId="264"/>
            <ac:spMk id="10" creationId="{FACB0526-238A-4B58-AC98-9125261658D9}"/>
          </ac:spMkLst>
        </pc:spChg>
        <pc:spChg chg="add mod">
          <ac:chgData name="Adam Muffitt" userId="f87af694dad07f1b" providerId="LiveId" clId="{A1F79236-EC96-46C6-AAC3-711E24056922}" dt="2020-03-10T19:52:23.443" v="4318" actId="14100"/>
          <ac:spMkLst>
            <pc:docMk/>
            <pc:sldMk cId="705546220" sldId="264"/>
            <ac:spMk id="11" creationId="{519A7259-7ACB-4CB5-A811-388F95692858}"/>
          </ac:spMkLst>
        </pc:spChg>
        <pc:spChg chg="mod">
          <ac:chgData name="Adam Muffitt" userId="f87af694dad07f1b" providerId="LiveId" clId="{A1F79236-EC96-46C6-AAC3-711E24056922}" dt="2020-03-10T19:54:35.267" v="4327" actId="2085"/>
          <ac:spMkLst>
            <pc:docMk/>
            <pc:sldMk cId="705546220" sldId="264"/>
            <ac:spMk id="182" creationId="{00000000-0000-0000-0000-000000000000}"/>
          </ac:spMkLst>
        </pc:spChg>
        <pc:picChg chg="mod">
          <ac:chgData name="Adam Muffitt" userId="f87af694dad07f1b" providerId="LiveId" clId="{A1F79236-EC96-46C6-AAC3-711E24056922}" dt="2020-03-10T19:49:47.244" v="4239" actId="1076"/>
          <ac:picMkLst>
            <pc:docMk/>
            <pc:sldMk cId="705546220" sldId="264"/>
            <ac:picMk id="2" creationId="{4DC9B2A6-3E89-4E86-AC5A-C2A9AFD3E1E2}"/>
          </ac:picMkLst>
        </pc:picChg>
        <pc:picChg chg="add mod">
          <ac:chgData name="Adam Muffitt" userId="f87af694dad07f1b" providerId="LiveId" clId="{A1F79236-EC96-46C6-AAC3-711E24056922}" dt="2020-03-10T19:45:14.229" v="4225" actId="1076"/>
          <ac:picMkLst>
            <pc:docMk/>
            <pc:sldMk cId="705546220" sldId="264"/>
            <ac:picMk id="3" creationId="{767CBD9E-7214-4291-92A1-196DB81E8BB2}"/>
          </ac:picMkLst>
        </pc:picChg>
      </pc:sldChg>
      <pc:sldChg chg="addSp delSp modSp add mod ord">
        <pc:chgData name="Adam Muffitt" userId="f87af694dad07f1b" providerId="LiveId" clId="{A1F79236-EC96-46C6-AAC3-711E24056922}" dt="2020-03-10T19:13:58.067" v="3085" actId="255"/>
        <pc:sldMkLst>
          <pc:docMk/>
          <pc:sldMk cId="2781324357" sldId="265"/>
        </pc:sldMkLst>
        <pc:spChg chg="del">
          <ac:chgData name="Adam Muffitt" userId="f87af694dad07f1b" providerId="LiveId" clId="{A1F79236-EC96-46C6-AAC3-711E24056922}" dt="2020-03-10T17:11:02.077" v="11" actId="478"/>
          <ac:spMkLst>
            <pc:docMk/>
            <pc:sldMk cId="2781324357" sldId="265"/>
            <ac:spMk id="3" creationId="{F94D58F7-A3B1-4185-9D1F-EAF99D91B99B}"/>
          </ac:spMkLst>
        </pc:spChg>
        <pc:spChg chg="del">
          <ac:chgData name="Adam Muffitt" userId="f87af694dad07f1b" providerId="LiveId" clId="{A1F79236-EC96-46C6-AAC3-711E24056922}" dt="2020-03-10T17:11:14.259" v="13" actId="478"/>
          <ac:spMkLst>
            <pc:docMk/>
            <pc:sldMk cId="2781324357" sldId="265"/>
            <ac:spMk id="9" creationId="{FCC4BFDE-2A9E-404C-B37C-ABB6E275A5FC}"/>
          </ac:spMkLst>
        </pc:spChg>
        <pc:spChg chg="del">
          <ac:chgData name="Adam Muffitt" userId="f87af694dad07f1b" providerId="LiveId" clId="{A1F79236-EC96-46C6-AAC3-711E24056922}" dt="2020-03-10T17:11:14.259" v="13" actId="478"/>
          <ac:spMkLst>
            <pc:docMk/>
            <pc:sldMk cId="2781324357" sldId="265"/>
            <ac:spMk id="14" creationId="{4C697816-67C2-4CD4-9A1D-5DDBC11C362C}"/>
          </ac:spMkLst>
        </pc:spChg>
        <pc:spChg chg="del">
          <ac:chgData name="Adam Muffitt" userId="f87af694dad07f1b" providerId="LiveId" clId="{A1F79236-EC96-46C6-AAC3-711E24056922}" dt="2020-03-10T17:11:14.259" v="13" actId="478"/>
          <ac:spMkLst>
            <pc:docMk/>
            <pc:sldMk cId="2781324357" sldId="265"/>
            <ac:spMk id="24" creationId="{1F014DEF-85E9-448A-B99D-A9981550B401}"/>
          </ac:spMkLst>
        </pc:spChg>
        <pc:spChg chg="add mod">
          <ac:chgData name="Adam Muffitt" userId="f87af694dad07f1b" providerId="LiveId" clId="{A1F79236-EC96-46C6-AAC3-711E24056922}" dt="2020-03-10T18:50:58.157" v="2735" actId="20577"/>
          <ac:spMkLst>
            <pc:docMk/>
            <pc:sldMk cId="2781324357" sldId="265"/>
            <ac:spMk id="26" creationId="{B6A2C6C7-B0DF-4446-8947-FB9951821467}"/>
          </ac:spMkLst>
        </pc:spChg>
        <pc:spChg chg="add del">
          <ac:chgData name="Adam Muffitt" userId="f87af694dad07f1b" providerId="LiveId" clId="{A1F79236-EC96-46C6-AAC3-711E24056922}" dt="2020-03-10T19:04:11.861" v="2979"/>
          <ac:spMkLst>
            <pc:docMk/>
            <pc:sldMk cId="2781324357" sldId="265"/>
            <ac:spMk id="27" creationId="{54E0C62B-130D-4E1B-9645-98DB6522F7F6}"/>
          </ac:spMkLst>
        </pc:spChg>
        <pc:spChg chg="del mod">
          <ac:chgData name="Adam Muffitt" userId="f87af694dad07f1b" providerId="LiveId" clId="{A1F79236-EC96-46C6-AAC3-711E24056922}" dt="2020-03-10T17:11:14.259" v="13" actId="478"/>
          <ac:spMkLst>
            <pc:docMk/>
            <pc:sldMk cId="2781324357" sldId="265"/>
            <ac:spMk id="28" creationId="{5DC59BA1-D6FC-469F-BF90-32D3E39D2ECE}"/>
          </ac:spMkLst>
        </pc:spChg>
        <pc:spChg chg="del mod">
          <ac:chgData name="Adam Muffitt" userId="f87af694dad07f1b" providerId="LiveId" clId="{A1F79236-EC96-46C6-AAC3-711E24056922}" dt="2020-03-10T17:23:28.222" v="744"/>
          <ac:spMkLst>
            <pc:docMk/>
            <pc:sldMk cId="2781324357" sldId="265"/>
            <ac:spMk id="30" creationId="{43C3D0E9-3001-4664-ACD8-D376DF6A04D2}"/>
          </ac:spMkLst>
        </pc:spChg>
        <pc:spChg chg="add mod">
          <ac:chgData name="Adam Muffitt" userId="f87af694dad07f1b" providerId="LiveId" clId="{A1F79236-EC96-46C6-AAC3-711E24056922}" dt="2020-03-10T19:10:52.219" v="3060" actId="14100"/>
          <ac:spMkLst>
            <pc:docMk/>
            <pc:sldMk cId="2781324357" sldId="265"/>
            <ac:spMk id="32" creationId="{8A43817D-7542-4D66-A58A-A93073F79F75}"/>
          </ac:spMkLst>
        </pc:spChg>
        <pc:spChg chg="mod">
          <ac:chgData name="Adam Muffitt" userId="f87af694dad07f1b" providerId="LiveId" clId="{A1F79236-EC96-46C6-AAC3-711E24056922}" dt="2020-03-10T19:13:58.067" v="3085" actId="255"/>
          <ac:spMkLst>
            <pc:docMk/>
            <pc:sldMk cId="2781324357" sldId="265"/>
            <ac:spMk id="182" creationId="{00000000-0000-0000-0000-000000000000}"/>
          </ac:spMkLst>
        </pc:spChg>
        <pc:picChg chg="mod">
          <ac:chgData name="Adam Muffitt" userId="f87af694dad07f1b" providerId="LiveId" clId="{A1F79236-EC96-46C6-AAC3-711E24056922}" dt="2020-03-10T18:49:14.434" v="2636" actId="14100"/>
          <ac:picMkLst>
            <pc:docMk/>
            <pc:sldMk cId="2781324357" sldId="265"/>
            <ac:picMk id="2" creationId="{CACFC233-D68C-4B13-843A-D808016A7FD5}"/>
          </ac:picMkLst>
        </pc:picChg>
        <pc:inkChg chg="del">
          <ac:chgData name="Adam Muffitt" userId="f87af694dad07f1b" providerId="LiveId" clId="{A1F79236-EC96-46C6-AAC3-711E24056922}" dt="2020-03-10T17:11:14.259" v="13" actId="478"/>
          <ac:inkMkLst>
            <pc:docMk/>
            <pc:sldMk cId="2781324357" sldId="265"/>
            <ac:inkMk id="12" creationId="{DACC316E-EA28-4424-80E0-D087A14C267D}"/>
          </ac:inkMkLst>
        </pc:inkChg>
        <pc:inkChg chg="del">
          <ac:chgData name="Adam Muffitt" userId="f87af694dad07f1b" providerId="LiveId" clId="{A1F79236-EC96-46C6-AAC3-711E24056922}" dt="2020-03-10T17:11:14.259" v="13" actId="478"/>
          <ac:inkMkLst>
            <pc:docMk/>
            <pc:sldMk cId="2781324357" sldId="265"/>
            <ac:inkMk id="15" creationId="{9E75E063-5495-4EFE-B7AA-BCBDAA3CEF71}"/>
          </ac:inkMkLst>
        </pc:inkChg>
        <pc:inkChg chg="del">
          <ac:chgData name="Adam Muffitt" userId="f87af694dad07f1b" providerId="LiveId" clId="{A1F79236-EC96-46C6-AAC3-711E24056922}" dt="2020-03-10T17:11:14.259" v="13" actId="478"/>
          <ac:inkMkLst>
            <pc:docMk/>
            <pc:sldMk cId="2781324357" sldId="265"/>
            <ac:inkMk id="16" creationId="{A32AE190-2FDC-43A9-9379-A7C1C9BFD8C0}"/>
          </ac:inkMkLst>
        </pc:inkChg>
        <pc:inkChg chg="del">
          <ac:chgData name="Adam Muffitt" userId="f87af694dad07f1b" providerId="LiveId" clId="{A1F79236-EC96-46C6-AAC3-711E24056922}" dt="2020-03-10T17:11:14.259" v="13" actId="478"/>
          <ac:inkMkLst>
            <pc:docMk/>
            <pc:sldMk cId="2781324357" sldId="265"/>
            <ac:inkMk id="17" creationId="{96F9321D-988E-4722-8C98-D08B173192F7}"/>
          </ac:inkMkLst>
        </pc:inkChg>
        <pc:inkChg chg="del">
          <ac:chgData name="Adam Muffitt" userId="f87af694dad07f1b" providerId="LiveId" clId="{A1F79236-EC96-46C6-AAC3-711E24056922}" dt="2020-03-10T17:11:14.259" v="13" actId="478"/>
          <ac:inkMkLst>
            <pc:docMk/>
            <pc:sldMk cId="2781324357" sldId="265"/>
            <ac:inkMk id="18" creationId="{2D71B872-B67C-4EB3-8B16-94A297A0B57B}"/>
          </ac:inkMkLst>
        </pc:inkChg>
        <pc:inkChg chg="del mod">
          <ac:chgData name="Adam Muffitt" userId="f87af694dad07f1b" providerId="LiveId" clId="{A1F79236-EC96-46C6-AAC3-711E24056922}" dt="2020-03-10T17:11:14.259" v="13" actId="478"/>
          <ac:inkMkLst>
            <pc:docMk/>
            <pc:sldMk cId="2781324357" sldId="265"/>
            <ac:inkMk id="20" creationId="{5E69E644-4613-46EE-9EEE-CF74143021F3}"/>
          </ac:inkMkLst>
        </pc:inkChg>
        <pc:inkChg chg="del mod">
          <ac:chgData name="Adam Muffitt" userId="f87af694dad07f1b" providerId="LiveId" clId="{A1F79236-EC96-46C6-AAC3-711E24056922}" dt="2020-03-10T17:11:14.259" v="13" actId="478"/>
          <ac:inkMkLst>
            <pc:docMk/>
            <pc:sldMk cId="2781324357" sldId="265"/>
            <ac:inkMk id="21" creationId="{205A8BE6-35EE-44B0-B746-CA69131CE03D}"/>
          </ac:inkMkLst>
        </pc:inkChg>
        <pc:cxnChg chg="del">
          <ac:chgData name="Adam Muffitt" userId="f87af694dad07f1b" providerId="LiveId" clId="{A1F79236-EC96-46C6-AAC3-711E24056922}" dt="2020-03-10T17:11:14.259" v="13" actId="478"/>
          <ac:cxnSpMkLst>
            <pc:docMk/>
            <pc:sldMk cId="2781324357" sldId="265"/>
            <ac:cxnSpMk id="7" creationId="{51051CA0-186A-4F87-BA41-06CC95615395}"/>
          </ac:cxnSpMkLst>
        </pc:cxnChg>
        <pc:cxnChg chg="del">
          <ac:chgData name="Adam Muffitt" userId="f87af694dad07f1b" providerId="LiveId" clId="{A1F79236-EC96-46C6-AAC3-711E24056922}" dt="2020-03-10T17:11:14.259" v="13" actId="478"/>
          <ac:cxnSpMkLst>
            <pc:docMk/>
            <pc:sldMk cId="2781324357" sldId="265"/>
            <ac:cxnSpMk id="13" creationId="{23680AEF-A74D-4ADD-9D18-B67C4F256932}"/>
          </ac:cxnSpMkLst>
        </pc:cxnChg>
        <pc:cxnChg chg="del mod">
          <ac:chgData name="Adam Muffitt" userId="f87af694dad07f1b" providerId="LiveId" clId="{A1F79236-EC96-46C6-AAC3-711E24056922}" dt="2020-03-10T17:11:14.259" v="13" actId="478"/>
          <ac:cxnSpMkLst>
            <pc:docMk/>
            <pc:sldMk cId="2781324357" sldId="265"/>
            <ac:cxnSpMk id="19" creationId="{89A703E8-01D9-45EF-BDF4-B6D3EB77D065}"/>
          </ac:cxnSpMkLst>
        </pc:cxnChg>
        <pc:cxnChg chg="del">
          <ac:chgData name="Adam Muffitt" userId="f87af694dad07f1b" providerId="LiveId" clId="{A1F79236-EC96-46C6-AAC3-711E24056922}" dt="2020-03-10T17:11:14.259" v="13" actId="478"/>
          <ac:cxnSpMkLst>
            <pc:docMk/>
            <pc:sldMk cId="2781324357" sldId="265"/>
            <ac:cxnSpMk id="23" creationId="{733C162C-136A-44C2-A283-AC643DD5D7FA}"/>
          </ac:cxnSpMkLst>
        </pc:cxnChg>
        <pc:cxnChg chg="del mod">
          <ac:chgData name="Adam Muffitt" userId="f87af694dad07f1b" providerId="LiveId" clId="{A1F79236-EC96-46C6-AAC3-711E24056922}" dt="2020-03-10T17:11:14.259" v="13" actId="478"/>
          <ac:cxnSpMkLst>
            <pc:docMk/>
            <pc:sldMk cId="2781324357" sldId="265"/>
            <ac:cxnSpMk id="25" creationId="{2E3E71AB-E53C-4D23-BB16-B246D9C9F5F9}"/>
          </ac:cxnSpMkLst>
        </pc:cxnChg>
        <pc:cxnChg chg="del mod">
          <ac:chgData name="Adam Muffitt" userId="f87af694dad07f1b" providerId="LiveId" clId="{A1F79236-EC96-46C6-AAC3-711E24056922}" dt="2020-03-10T17:11:14.259" v="13" actId="478"/>
          <ac:cxnSpMkLst>
            <pc:docMk/>
            <pc:sldMk cId="2781324357" sldId="265"/>
            <ac:cxnSpMk id="29" creationId="{59909323-211E-4756-AA4F-B89B901FAFF2}"/>
          </ac:cxnSpMkLst>
        </pc:cxnChg>
      </pc:sldChg>
      <pc:sldChg chg="addSp delSp modSp add mod ord">
        <pc:chgData name="Adam Muffitt" userId="f87af694dad07f1b" providerId="LiveId" clId="{A1F79236-EC96-46C6-AAC3-711E24056922}" dt="2020-03-10T20:19:46.896" v="5285" actId="1076"/>
        <pc:sldMkLst>
          <pc:docMk/>
          <pc:sldMk cId="1674657168" sldId="266"/>
        </pc:sldMkLst>
        <pc:spChg chg="add del mod">
          <ac:chgData name="Adam Muffitt" userId="f87af694dad07f1b" providerId="LiveId" clId="{A1F79236-EC96-46C6-AAC3-711E24056922}" dt="2020-03-10T19:15:04.330" v="3091" actId="478"/>
          <ac:spMkLst>
            <pc:docMk/>
            <pc:sldMk cId="1674657168" sldId="266"/>
            <ac:spMk id="2" creationId="{9BE5AC4A-5698-4BD1-8567-FF9066CDF456}"/>
          </ac:spMkLst>
        </pc:spChg>
        <pc:spChg chg="add mod">
          <ac:chgData name="Adam Muffitt" userId="f87af694dad07f1b" providerId="LiveId" clId="{A1F79236-EC96-46C6-AAC3-711E24056922}" dt="2020-03-10T20:19:46.896" v="5285" actId="1076"/>
          <ac:spMkLst>
            <pc:docMk/>
            <pc:sldMk cId="1674657168" sldId="266"/>
            <ac:spMk id="3" creationId="{A3C40ADA-6CD5-498A-9CD6-5F40D4A77124}"/>
          </ac:spMkLst>
        </pc:spChg>
        <pc:spChg chg="add mod">
          <ac:chgData name="Adam Muffitt" userId="f87af694dad07f1b" providerId="LiveId" clId="{A1F79236-EC96-46C6-AAC3-711E24056922}" dt="2020-03-10T19:12:28.857" v="3070" actId="1076"/>
          <ac:spMkLst>
            <pc:docMk/>
            <pc:sldMk cId="1674657168" sldId="266"/>
            <ac:spMk id="8" creationId="{EDBE4289-AB2A-416A-A021-82DCF7446541}"/>
          </ac:spMkLst>
        </pc:spChg>
        <pc:spChg chg="del">
          <ac:chgData name="Adam Muffitt" userId="f87af694dad07f1b" providerId="LiveId" clId="{A1F79236-EC96-46C6-AAC3-711E24056922}" dt="2020-03-10T18:57:22.324" v="2830" actId="478"/>
          <ac:spMkLst>
            <pc:docMk/>
            <pc:sldMk cId="1674657168" sldId="266"/>
            <ac:spMk id="10" creationId="{0323D50C-F205-47B0-8DE8-EC5D5C3C9E25}"/>
          </ac:spMkLst>
        </pc:spChg>
        <pc:spChg chg="add mod">
          <ac:chgData name="Adam Muffitt" userId="f87af694dad07f1b" providerId="LiveId" clId="{A1F79236-EC96-46C6-AAC3-711E24056922}" dt="2020-03-10T19:15:42.553" v="3097" actId="14100"/>
          <ac:spMkLst>
            <pc:docMk/>
            <pc:sldMk cId="1674657168" sldId="266"/>
            <ac:spMk id="11" creationId="{8CC9364B-7ABA-4CDC-93D5-86D221E30998}"/>
          </ac:spMkLst>
        </pc:spChg>
        <pc:spChg chg="mod">
          <ac:chgData name="Adam Muffitt" userId="f87af694dad07f1b" providerId="LiveId" clId="{A1F79236-EC96-46C6-AAC3-711E24056922}" dt="2020-03-10T19:16:25.878" v="3106" actId="20577"/>
          <ac:spMkLst>
            <pc:docMk/>
            <pc:sldMk cId="1674657168" sldId="266"/>
            <ac:spMk id="15" creationId="{50340269-CCC7-4AAF-8F7D-7A557B8DDCBD}"/>
          </ac:spMkLst>
        </pc:spChg>
        <pc:spChg chg="mod">
          <ac:chgData name="Adam Muffitt" userId="f87af694dad07f1b" providerId="LiveId" clId="{A1F79236-EC96-46C6-AAC3-711E24056922}" dt="2020-03-10T19:03:38.860" v="2975" actId="255"/>
          <ac:spMkLst>
            <pc:docMk/>
            <pc:sldMk cId="1674657168" sldId="266"/>
            <ac:spMk id="182" creationId="{00000000-0000-0000-0000-000000000000}"/>
          </ac:spMkLst>
        </pc:spChg>
        <pc:picChg chg="del">
          <ac:chgData name="Adam Muffitt" userId="f87af694dad07f1b" providerId="LiveId" clId="{A1F79236-EC96-46C6-AAC3-711E24056922}" dt="2020-03-10T18:57:19.988" v="2829" actId="478"/>
          <ac:picMkLst>
            <pc:docMk/>
            <pc:sldMk cId="1674657168" sldId="266"/>
            <ac:picMk id="5" creationId="{CE2A7406-4D5A-4288-9F83-232B1E2813A6}"/>
          </ac:picMkLst>
        </pc:picChg>
        <pc:picChg chg="mod">
          <ac:chgData name="Adam Muffitt" userId="f87af694dad07f1b" providerId="LiveId" clId="{A1F79236-EC96-46C6-AAC3-711E24056922}" dt="2020-03-10T19:03:55.210" v="2977" actId="14100"/>
          <ac:picMkLst>
            <pc:docMk/>
            <pc:sldMk cId="1674657168" sldId="266"/>
            <ac:picMk id="6" creationId="{95CD2CC1-07A3-4CEB-8FA5-4782B330213F}"/>
          </ac:picMkLst>
        </pc:picChg>
      </pc:sldChg>
      <pc:sldChg chg="add del">
        <pc:chgData name="Adam Muffitt" userId="f87af694dad07f1b" providerId="LiveId" clId="{A1F79236-EC96-46C6-AAC3-711E24056922}" dt="2020-03-10T15:47:40.289" v="4"/>
        <pc:sldMkLst>
          <pc:docMk/>
          <pc:sldMk cId="903151355" sldId="267"/>
        </pc:sldMkLst>
      </pc:sldChg>
      <pc:sldChg chg="delSp modSp add mod">
        <pc:chgData name="Adam Muffitt" userId="f87af694dad07f1b" providerId="LiveId" clId="{A1F79236-EC96-46C6-AAC3-711E24056922}" dt="2020-03-10T20:13:51.105" v="4975" actId="1076"/>
        <pc:sldMkLst>
          <pc:docMk/>
          <pc:sldMk cId="1591983399" sldId="267"/>
        </pc:sldMkLst>
        <pc:spChg chg="mod">
          <ac:chgData name="Adam Muffitt" userId="f87af694dad07f1b" providerId="LiveId" clId="{A1F79236-EC96-46C6-AAC3-711E24056922}" dt="2020-03-10T20:13:51.105" v="4975" actId="1076"/>
          <ac:spMkLst>
            <pc:docMk/>
            <pc:sldMk cId="1591983399" sldId="267"/>
            <ac:spMk id="2" creationId="{07A5B8E1-5616-421E-A6AB-97DE892DA913}"/>
          </ac:spMkLst>
        </pc:spChg>
        <pc:spChg chg="del">
          <ac:chgData name="Adam Muffitt" userId="f87af694dad07f1b" providerId="LiveId" clId="{A1F79236-EC96-46C6-AAC3-711E24056922}" dt="2020-03-10T20:13:06.541" v="4921" actId="478"/>
          <ac:spMkLst>
            <pc:docMk/>
            <pc:sldMk cId="1591983399" sldId="267"/>
            <ac:spMk id="3" creationId="{464FF661-579D-47DC-B872-F689A9894B99}"/>
          </ac:spMkLst>
        </pc:spChg>
      </pc:sldChg>
      <pc:sldChg chg="add del">
        <pc:chgData name="Adam Muffitt" userId="f87af694dad07f1b" providerId="LiveId" clId="{A1F79236-EC96-46C6-AAC3-711E24056922}" dt="2020-03-10T15:47:40.289" v="4"/>
        <pc:sldMkLst>
          <pc:docMk/>
          <pc:sldMk cId="489498757" sldId="268"/>
        </pc:sldMkLst>
      </pc:sldChg>
      <pc:sldChg chg="add del">
        <pc:chgData name="Adam Muffitt" userId="f87af694dad07f1b" providerId="LiveId" clId="{A1F79236-EC96-46C6-AAC3-711E24056922}" dt="2020-03-10T15:47:40.289" v="4"/>
        <pc:sldMkLst>
          <pc:docMk/>
          <pc:sldMk cId="204178242" sldId="269"/>
        </pc:sldMkLst>
      </pc:sldChg>
      <pc:sldMasterChg chg="delSldLayout">
        <pc:chgData name="Adam Muffitt" userId="f87af694dad07f1b" providerId="LiveId" clId="{A1F79236-EC96-46C6-AAC3-711E24056922}" dt="2020-03-10T20:07:06.176" v="4732" actId="47"/>
        <pc:sldMasterMkLst>
          <pc:docMk/>
          <pc:sldMasterMk cId="294880314" sldId="2147483660"/>
        </pc:sldMasterMkLst>
        <pc:sldLayoutChg chg="del">
          <pc:chgData name="Adam Muffitt" userId="f87af694dad07f1b" providerId="LiveId" clId="{A1F79236-EC96-46C6-AAC3-711E24056922}" dt="2020-03-10T20:07:06.176" v="4732" actId="47"/>
          <pc:sldLayoutMkLst>
            <pc:docMk/>
            <pc:sldMasterMk cId="294880314" sldId="2147483660"/>
            <pc:sldLayoutMk cId="721504335" sldId="2147483665"/>
          </pc:sldLayoutMkLst>
        </pc:sldLayoutChg>
        <pc:sldLayoutChg chg="del">
          <pc:chgData name="Adam Muffitt" userId="f87af694dad07f1b" providerId="LiveId" clId="{A1F79236-EC96-46C6-AAC3-711E24056922}" dt="2020-03-10T18:51:56.571" v="2737" actId="47"/>
          <pc:sldLayoutMkLst>
            <pc:docMk/>
            <pc:sldMasterMk cId="294880314" sldId="2147483660"/>
            <pc:sldLayoutMk cId="1921323240" sldId="2147483666"/>
          </pc:sldLayoutMkLst>
        </pc:sldLayoutChg>
      </pc:sldMasterChg>
    </pc:docChg>
  </pc:docChgLst>
  <pc:docChgLst>
    <pc:chgData name="Adam Muffitt" userId="f87af694dad07f1b" providerId="LiveId" clId="{F839BA54-D8F4-4391-8F65-E8787D51B889}"/>
    <pc:docChg chg="undo custSel addSld modSld sldOrd">
      <pc:chgData name="Adam Muffitt" userId="f87af694dad07f1b" providerId="LiveId" clId="{F839BA54-D8F4-4391-8F65-E8787D51B889}" dt="2020-03-16T15:53:23.931" v="1261" actId="20577"/>
      <pc:docMkLst>
        <pc:docMk/>
      </pc:docMkLst>
      <pc:sldChg chg="addSp modSp">
        <pc:chgData name="Adam Muffitt" userId="f87af694dad07f1b" providerId="LiveId" clId="{F839BA54-D8F4-4391-8F65-E8787D51B889}" dt="2020-03-11T02:47:25.613" v="1245" actId="20577"/>
        <pc:sldMkLst>
          <pc:docMk/>
          <pc:sldMk cId="1795855356" sldId="256"/>
        </pc:sldMkLst>
        <pc:spChg chg="add mod">
          <ac:chgData name="Adam Muffitt" userId="f87af694dad07f1b" providerId="LiveId" clId="{F839BA54-D8F4-4391-8F65-E8787D51B889}" dt="2020-03-11T01:41:52.263" v="872" actId="207"/>
          <ac:spMkLst>
            <pc:docMk/>
            <pc:sldMk cId="1795855356" sldId="256"/>
            <ac:spMk id="2" creationId="{525B571C-D9A7-4777-8380-275AE8280C5A}"/>
          </ac:spMkLst>
        </pc:spChg>
        <pc:spChg chg="mod">
          <ac:chgData name="Adam Muffitt" userId="f87af694dad07f1b" providerId="LiveId" clId="{F839BA54-D8F4-4391-8F65-E8787D51B889}" dt="2020-03-11T01:55:44.203" v="1168" actId="20577"/>
          <ac:spMkLst>
            <pc:docMk/>
            <pc:sldMk cId="1795855356" sldId="256"/>
            <ac:spMk id="8" creationId="{02EF3836-8F56-408D-BEC0-C2BD95EDBA92}"/>
          </ac:spMkLst>
        </pc:spChg>
        <pc:spChg chg="add mod">
          <ac:chgData name="Adam Muffitt" userId="f87af694dad07f1b" providerId="LiveId" clId="{F839BA54-D8F4-4391-8F65-E8787D51B889}" dt="2020-03-11T01:43:12.431" v="1086" actId="1035"/>
          <ac:spMkLst>
            <pc:docMk/>
            <pc:sldMk cId="1795855356" sldId="256"/>
            <ac:spMk id="9" creationId="{4551BD85-0029-4E7F-A977-0EDE43B7EA8A}"/>
          </ac:spMkLst>
        </pc:spChg>
        <pc:spChg chg="mod">
          <ac:chgData name="Adam Muffitt" userId="f87af694dad07f1b" providerId="LiveId" clId="{F839BA54-D8F4-4391-8F65-E8787D51B889}" dt="2020-03-11T02:47:25.613" v="1245" actId="20577"/>
          <ac:spMkLst>
            <pc:docMk/>
            <pc:sldMk cId="1795855356" sldId="256"/>
            <ac:spMk id="10" creationId="{B3C933EF-B2CE-4EE3-904E-1AA625F8C263}"/>
          </ac:spMkLst>
        </pc:spChg>
        <pc:spChg chg="mod">
          <ac:chgData name="Adam Muffitt" userId="f87af694dad07f1b" providerId="LiveId" clId="{F839BA54-D8F4-4391-8F65-E8787D51B889}" dt="2020-03-10T21:41:36.665" v="353" actId="14100"/>
          <ac:spMkLst>
            <pc:docMk/>
            <pc:sldMk cId="1795855356" sldId="256"/>
            <ac:spMk id="12" creationId="{CFB4C205-005F-4DFD-9D08-CAA464FB5FD1}"/>
          </ac:spMkLst>
        </pc:spChg>
        <pc:picChg chg="mod">
          <ac:chgData name="Adam Muffitt" userId="f87af694dad07f1b" providerId="LiveId" clId="{F839BA54-D8F4-4391-8F65-E8787D51B889}" dt="2020-03-11T01:43:22.464" v="1091" actId="1036"/>
          <ac:picMkLst>
            <pc:docMk/>
            <pc:sldMk cId="1795855356" sldId="256"/>
            <ac:picMk id="4" creationId="{11F79B95-D9A3-41D8-A5EE-42C46E78FB10}"/>
          </ac:picMkLst>
        </pc:picChg>
        <pc:picChg chg="mod">
          <ac:chgData name="Adam Muffitt" userId="f87af694dad07f1b" providerId="LiveId" clId="{F839BA54-D8F4-4391-8F65-E8787D51B889}" dt="2020-03-11T01:43:31.385" v="1100" actId="1035"/>
          <ac:picMkLst>
            <pc:docMk/>
            <pc:sldMk cId="1795855356" sldId="256"/>
            <ac:picMk id="11" creationId="{F946CEAC-5BEE-4FD3-AE27-F8C46745A915}"/>
          </ac:picMkLst>
        </pc:picChg>
      </pc:sldChg>
      <pc:sldChg chg="modSp">
        <pc:chgData name="Adam Muffitt" userId="f87af694dad07f1b" providerId="LiveId" clId="{F839BA54-D8F4-4391-8F65-E8787D51B889}" dt="2020-03-11T01:48:01.254" v="1141" actId="20577"/>
        <pc:sldMkLst>
          <pc:docMk/>
          <pc:sldMk cId="0" sldId="260"/>
        </pc:sldMkLst>
        <pc:spChg chg="mod">
          <ac:chgData name="Adam Muffitt" userId="f87af694dad07f1b" providerId="LiveId" clId="{F839BA54-D8F4-4391-8F65-E8787D51B889}" dt="2020-03-11T01:48:01.254" v="1141" actId="20577"/>
          <ac:spMkLst>
            <pc:docMk/>
            <pc:sldMk cId="0" sldId="260"/>
            <ac:spMk id="182" creationId="{00000000-0000-0000-0000-000000000000}"/>
          </ac:spMkLst>
        </pc:spChg>
      </pc:sldChg>
      <pc:sldChg chg="addSp delSp modSp">
        <pc:chgData name="Adam Muffitt" userId="f87af694dad07f1b" providerId="LiveId" clId="{F839BA54-D8F4-4391-8F65-E8787D51B889}" dt="2020-03-11T02:46:43.187" v="1220" actId="12"/>
        <pc:sldMkLst>
          <pc:docMk/>
          <pc:sldMk cId="2053780298" sldId="261"/>
        </pc:sldMkLst>
        <pc:spChg chg="mod">
          <ac:chgData name="Adam Muffitt" userId="f87af694dad07f1b" providerId="LiveId" clId="{F839BA54-D8F4-4391-8F65-E8787D51B889}" dt="2020-03-10T21:03:08.783" v="0" actId="14100"/>
          <ac:spMkLst>
            <pc:docMk/>
            <pc:sldMk cId="2053780298" sldId="261"/>
            <ac:spMk id="3" creationId="{80E2FEAD-6B5F-434E-A1D7-F378B492BE1B}"/>
          </ac:spMkLst>
        </pc:spChg>
        <pc:spChg chg="mod">
          <ac:chgData name="Adam Muffitt" userId="f87af694dad07f1b" providerId="LiveId" clId="{F839BA54-D8F4-4391-8F65-E8787D51B889}" dt="2020-03-11T02:46:43.187" v="1220" actId="12"/>
          <ac:spMkLst>
            <pc:docMk/>
            <pc:sldMk cId="2053780298" sldId="261"/>
            <ac:spMk id="4" creationId="{E2816C99-5E4F-4B2A-B5FC-EA3FE48BF2A8}"/>
          </ac:spMkLst>
        </pc:spChg>
        <pc:spChg chg="mod">
          <ac:chgData name="Adam Muffitt" userId="f87af694dad07f1b" providerId="LiveId" clId="{F839BA54-D8F4-4391-8F65-E8787D51B889}" dt="2020-03-11T02:46:15.595" v="1214" actId="20577"/>
          <ac:spMkLst>
            <pc:docMk/>
            <pc:sldMk cId="2053780298" sldId="261"/>
            <ac:spMk id="182" creationId="{00000000-0000-0000-0000-000000000000}"/>
          </ac:spMkLst>
        </pc:spChg>
        <pc:graphicFrameChg chg="add">
          <ac:chgData name="Adam Muffitt" userId="f87af694dad07f1b" providerId="LiveId" clId="{F839BA54-D8F4-4391-8F65-E8787D51B889}" dt="2020-03-10T21:08:40.172" v="2"/>
          <ac:graphicFrameMkLst>
            <pc:docMk/>
            <pc:sldMk cId="2053780298" sldId="261"/>
            <ac:graphicFrameMk id="26" creationId="{D5415ADE-802F-4224-9542-F81B2A09220E}"/>
          </ac:graphicFrameMkLst>
        </pc:graphicFrameChg>
        <pc:picChg chg="add mod">
          <ac:chgData name="Adam Muffitt" userId="f87af694dad07f1b" providerId="LiveId" clId="{F839BA54-D8F4-4391-8F65-E8787D51B889}" dt="2020-03-10T21:09:08.013" v="6" actId="14100"/>
          <ac:picMkLst>
            <pc:docMk/>
            <pc:sldMk cId="2053780298" sldId="261"/>
            <ac:picMk id="6" creationId="{C1B52906-1EAF-445B-83A7-D40E436CCB72}"/>
          </ac:picMkLst>
        </pc:picChg>
        <pc:picChg chg="del">
          <ac:chgData name="Adam Muffitt" userId="f87af694dad07f1b" providerId="LiveId" clId="{F839BA54-D8F4-4391-8F65-E8787D51B889}" dt="2020-03-10T21:08:36.951" v="1" actId="478"/>
          <ac:picMkLst>
            <pc:docMk/>
            <pc:sldMk cId="2053780298" sldId="261"/>
            <ac:picMk id="19" creationId="{47E54317-6F94-49E5-8ECB-272C5B54EF77}"/>
          </ac:picMkLst>
        </pc:picChg>
      </pc:sldChg>
      <pc:sldChg chg="addSp delSp modSp">
        <pc:chgData name="Adam Muffitt" userId="f87af694dad07f1b" providerId="LiveId" clId="{F839BA54-D8F4-4391-8F65-E8787D51B889}" dt="2020-03-11T01:48:48.665" v="1152" actId="1035"/>
        <pc:sldMkLst>
          <pc:docMk/>
          <pc:sldMk cId="256898935" sldId="262"/>
        </pc:sldMkLst>
        <pc:spChg chg="mod">
          <ac:chgData name="Adam Muffitt" userId="f87af694dad07f1b" providerId="LiveId" clId="{F839BA54-D8F4-4391-8F65-E8787D51B889}" dt="2020-03-11T01:21:19.609" v="629" actId="20577"/>
          <ac:spMkLst>
            <pc:docMk/>
            <pc:sldMk cId="256898935" sldId="262"/>
            <ac:spMk id="26" creationId="{2883D11B-1A80-423C-A365-C1D151D250A2}"/>
          </ac:spMkLst>
        </pc:spChg>
        <pc:graphicFrameChg chg="add">
          <ac:chgData name="Adam Muffitt" userId="f87af694dad07f1b" providerId="LiveId" clId="{F839BA54-D8F4-4391-8F65-E8787D51B889}" dt="2020-03-10T21:44:03.431" v="356"/>
          <ac:graphicFrameMkLst>
            <pc:docMk/>
            <pc:sldMk cId="256898935" sldId="262"/>
            <ac:graphicFrameMk id="13" creationId="{04224CB7-BD97-453A-A170-A040AE2211A4}"/>
          </ac:graphicFrameMkLst>
        </pc:graphicFrameChg>
        <pc:picChg chg="add del mod">
          <ac:chgData name="Adam Muffitt" userId="f87af694dad07f1b" providerId="LiveId" clId="{F839BA54-D8F4-4391-8F65-E8787D51B889}" dt="2020-03-11T00:49:08.164" v="497" actId="478"/>
          <ac:picMkLst>
            <pc:docMk/>
            <pc:sldMk cId="256898935" sldId="262"/>
            <ac:picMk id="2" creationId="{87BA2042-EC76-4FE9-B66D-F3D1BE519317}"/>
          </ac:picMkLst>
        </pc:picChg>
        <pc:picChg chg="del">
          <ac:chgData name="Adam Muffitt" userId="f87af694dad07f1b" providerId="LiveId" clId="{F839BA54-D8F4-4391-8F65-E8787D51B889}" dt="2020-03-10T21:44:01.788" v="355" actId="478"/>
          <ac:picMkLst>
            <pc:docMk/>
            <pc:sldMk cId="256898935" sldId="262"/>
            <ac:picMk id="3" creationId="{A7149226-2223-4AE3-8E54-C11B81B4F140}"/>
          </ac:picMkLst>
        </pc:picChg>
        <pc:picChg chg="add mod">
          <ac:chgData name="Adam Muffitt" userId="f87af694dad07f1b" providerId="LiveId" clId="{F839BA54-D8F4-4391-8F65-E8787D51B889}" dt="2020-03-10T23:35:43.782" v="397" actId="14100"/>
          <ac:picMkLst>
            <pc:docMk/>
            <pc:sldMk cId="256898935" sldId="262"/>
            <ac:picMk id="4" creationId="{E40BF31C-690E-4278-91A0-837EA5E1E537}"/>
          </ac:picMkLst>
        </pc:picChg>
        <pc:picChg chg="del">
          <ac:chgData name="Adam Muffitt" userId="f87af694dad07f1b" providerId="LiveId" clId="{F839BA54-D8F4-4391-8F65-E8787D51B889}" dt="2020-03-10T23:34:08.436" v="387" actId="478"/>
          <ac:picMkLst>
            <pc:docMk/>
            <pc:sldMk cId="256898935" sldId="262"/>
            <ac:picMk id="5" creationId="{152E205E-06D6-403C-8A46-AE32AB963723}"/>
          </ac:picMkLst>
        </pc:picChg>
        <pc:picChg chg="add del mod">
          <ac:chgData name="Adam Muffitt" userId="f87af694dad07f1b" providerId="LiveId" clId="{F839BA54-D8F4-4391-8F65-E8787D51B889}" dt="2020-03-10T23:56:48.122" v="408" actId="478"/>
          <ac:picMkLst>
            <pc:docMk/>
            <pc:sldMk cId="256898935" sldId="262"/>
            <ac:picMk id="6" creationId="{D3342CBB-A35E-428D-8F27-C3E2E7E0B8F3}"/>
          </ac:picMkLst>
        </pc:picChg>
        <pc:picChg chg="add mod">
          <ac:chgData name="Adam Muffitt" userId="f87af694dad07f1b" providerId="LiveId" clId="{F839BA54-D8F4-4391-8F65-E8787D51B889}" dt="2020-03-11T00:27:27.710" v="461" actId="14100"/>
          <ac:picMkLst>
            <pc:docMk/>
            <pc:sldMk cId="256898935" sldId="262"/>
            <ac:picMk id="7" creationId="{E0F476A0-8434-4CBB-AE8F-E85E2C8F1572}"/>
          </ac:picMkLst>
        </pc:picChg>
        <pc:picChg chg="del">
          <ac:chgData name="Adam Muffitt" userId="f87af694dad07f1b" providerId="LiveId" clId="{F839BA54-D8F4-4391-8F65-E8787D51B889}" dt="2020-03-11T00:36:31.374" v="490" actId="478"/>
          <ac:picMkLst>
            <pc:docMk/>
            <pc:sldMk cId="256898935" sldId="262"/>
            <ac:picMk id="8" creationId="{A9328B3A-9CEE-49B7-85DA-F1E8E0F6D8DD}"/>
          </ac:picMkLst>
        </pc:picChg>
        <pc:picChg chg="add del mod">
          <ac:chgData name="Adam Muffitt" userId="f87af694dad07f1b" providerId="LiveId" clId="{F839BA54-D8F4-4391-8F65-E8787D51B889}" dt="2020-03-11T00:05:39.608" v="427" actId="478"/>
          <ac:picMkLst>
            <pc:docMk/>
            <pc:sldMk cId="256898935" sldId="262"/>
            <ac:picMk id="9" creationId="{85727459-4D48-4E4D-938A-E27982D76D94}"/>
          </ac:picMkLst>
        </pc:picChg>
        <pc:picChg chg="add mod">
          <ac:chgData name="Adam Muffitt" userId="f87af694dad07f1b" providerId="LiveId" clId="{F839BA54-D8F4-4391-8F65-E8787D51B889}" dt="2020-03-11T00:06:07.726" v="440" actId="1037"/>
          <ac:picMkLst>
            <pc:docMk/>
            <pc:sldMk cId="256898935" sldId="262"/>
            <ac:picMk id="10" creationId="{B007C6F0-49C1-40C7-9E93-8F3C9423323F}"/>
          </ac:picMkLst>
        </pc:picChg>
        <pc:picChg chg="add mod">
          <ac:chgData name="Adam Muffitt" userId="f87af694dad07f1b" providerId="LiveId" clId="{F839BA54-D8F4-4391-8F65-E8787D51B889}" dt="2020-03-11T00:37:08.497" v="496" actId="14100"/>
          <ac:picMkLst>
            <pc:docMk/>
            <pc:sldMk cId="256898935" sldId="262"/>
            <ac:picMk id="11" creationId="{2790DB9A-E81F-494A-987C-426D060F0E05}"/>
          </ac:picMkLst>
        </pc:picChg>
        <pc:picChg chg="add mod">
          <ac:chgData name="Adam Muffitt" userId="f87af694dad07f1b" providerId="LiveId" clId="{F839BA54-D8F4-4391-8F65-E8787D51B889}" dt="2020-03-11T00:27:18.532" v="460" actId="14100"/>
          <ac:picMkLst>
            <pc:docMk/>
            <pc:sldMk cId="256898935" sldId="262"/>
            <ac:picMk id="14" creationId="{5C0FF9C1-85C4-446D-994F-C475CF63F228}"/>
          </ac:picMkLst>
        </pc:picChg>
        <pc:picChg chg="add mod">
          <ac:chgData name="Adam Muffitt" userId="f87af694dad07f1b" providerId="LiveId" clId="{F839BA54-D8F4-4391-8F65-E8787D51B889}" dt="2020-03-11T00:36:52.292" v="494" actId="14100"/>
          <ac:picMkLst>
            <pc:docMk/>
            <pc:sldMk cId="256898935" sldId="262"/>
            <ac:picMk id="15" creationId="{AA515EDA-DBF1-4F3B-93C0-46C101D3437E}"/>
          </ac:picMkLst>
        </pc:picChg>
        <pc:picChg chg="del">
          <ac:chgData name="Adam Muffitt" userId="f87af694dad07f1b" providerId="LiveId" clId="{F839BA54-D8F4-4391-8F65-E8787D51B889}" dt="2020-03-11T01:02:17.408" v="503" actId="478"/>
          <ac:picMkLst>
            <pc:docMk/>
            <pc:sldMk cId="256898935" sldId="262"/>
            <ac:picMk id="16" creationId="{79AB7A87-6F75-4D02-B0CF-D01BC241F7F5}"/>
          </ac:picMkLst>
        </pc:picChg>
        <pc:picChg chg="add mod">
          <ac:chgData name="Adam Muffitt" userId="f87af694dad07f1b" providerId="LiveId" clId="{F839BA54-D8F4-4391-8F65-E8787D51B889}" dt="2020-03-11T00:49:25.919" v="502" actId="14100"/>
          <ac:picMkLst>
            <pc:docMk/>
            <pc:sldMk cId="256898935" sldId="262"/>
            <ac:picMk id="17" creationId="{51F94EBA-DEB8-4900-AEFF-4F9E27531152}"/>
          </ac:picMkLst>
        </pc:picChg>
        <pc:picChg chg="del">
          <ac:chgData name="Adam Muffitt" userId="f87af694dad07f1b" providerId="LiveId" clId="{F839BA54-D8F4-4391-8F65-E8787D51B889}" dt="2020-03-10T23:38:42.344" v="398" actId="478"/>
          <ac:picMkLst>
            <pc:docMk/>
            <pc:sldMk cId="256898935" sldId="262"/>
            <ac:picMk id="18" creationId="{319AE2E4-85B2-49DD-A742-56D05A42AFB9}"/>
          </ac:picMkLst>
        </pc:picChg>
        <pc:picChg chg="add mod">
          <ac:chgData name="Adam Muffitt" userId="f87af694dad07f1b" providerId="LiveId" clId="{F839BA54-D8F4-4391-8F65-E8787D51B889}" dt="2020-03-11T01:48:48.665" v="1152" actId="1035"/>
          <ac:picMkLst>
            <pc:docMk/>
            <pc:sldMk cId="256898935" sldId="262"/>
            <ac:picMk id="19" creationId="{3B5DDEA8-DB55-428B-8D9E-633C7C927B95}"/>
          </ac:picMkLst>
        </pc:picChg>
        <pc:picChg chg="del mod">
          <ac:chgData name="Adam Muffitt" userId="f87af694dad07f1b" providerId="LiveId" clId="{F839BA54-D8F4-4391-8F65-E8787D51B889}" dt="2020-03-11T00:26:57.612" v="454" actId="478"/>
          <ac:picMkLst>
            <pc:docMk/>
            <pc:sldMk cId="256898935" sldId="262"/>
            <ac:picMk id="21" creationId="{22BBB6E1-15CF-4B81-B4B8-403975E1C71F}"/>
          </ac:picMkLst>
        </pc:picChg>
        <pc:picChg chg="add del">
          <ac:chgData name="Adam Muffitt" userId="f87af694dad07f1b" providerId="LiveId" clId="{F839BA54-D8F4-4391-8F65-E8787D51B889}" dt="2020-03-10T23:42:21.158" v="407" actId="478"/>
          <ac:picMkLst>
            <pc:docMk/>
            <pc:sldMk cId="256898935" sldId="262"/>
            <ac:picMk id="23" creationId="{75BA8B7E-1B81-4C6D-9290-ED7B5754AD5D}"/>
          </ac:picMkLst>
        </pc:picChg>
        <pc:picChg chg="del">
          <ac:chgData name="Adam Muffitt" userId="f87af694dad07f1b" providerId="LiveId" clId="{F839BA54-D8F4-4391-8F65-E8787D51B889}" dt="2020-03-10T23:41:30.792" v="404" actId="478"/>
          <ac:picMkLst>
            <pc:docMk/>
            <pc:sldMk cId="256898935" sldId="262"/>
            <ac:picMk id="24" creationId="{5FFCD2CB-4416-451B-B813-031AD9EAFB2C}"/>
          </ac:picMkLst>
        </pc:picChg>
      </pc:sldChg>
      <pc:sldChg chg="addSp delSp modSp">
        <pc:chgData name="Adam Muffitt" userId="f87af694dad07f1b" providerId="LiveId" clId="{F839BA54-D8F4-4391-8F65-E8787D51B889}" dt="2020-03-16T15:53:23.931" v="1261" actId="20577"/>
        <pc:sldMkLst>
          <pc:docMk/>
          <pc:sldMk cId="705546220" sldId="264"/>
        </pc:sldMkLst>
        <pc:spChg chg="mod">
          <ac:chgData name="Adam Muffitt" userId="f87af694dad07f1b" providerId="LiveId" clId="{F839BA54-D8F4-4391-8F65-E8787D51B889}" dt="2020-03-16T15:53:23.931" v="1261" actId="20577"/>
          <ac:spMkLst>
            <pc:docMk/>
            <pc:sldMk cId="705546220" sldId="264"/>
            <ac:spMk id="7" creationId="{87A42A02-533C-4B86-86B7-9E67A8C4FF7B}"/>
          </ac:spMkLst>
        </pc:spChg>
        <pc:spChg chg="add del mod">
          <ac:chgData name="Adam Muffitt" userId="f87af694dad07f1b" providerId="LiveId" clId="{F839BA54-D8F4-4391-8F65-E8787D51B889}" dt="2020-03-11T01:57:36.316" v="1171" actId="11529"/>
          <ac:spMkLst>
            <pc:docMk/>
            <pc:sldMk cId="705546220" sldId="264"/>
            <ac:spMk id="9" creationId="{D0E54D44-E525-4905-9F5D-960C8041E87C}"/>
          </ac:spMkLst>
        </pc:spChg>
        <pc:spChg chg="mod">
          <ac:chgData name="Adam Muffitt" userId="f87af694dad07f1b" providerId="LiveId" clId="{F839BA54-D8F4-4391-8F65-E8787D51B889}" dt="2020-03-11T01:59:19.196" v="1178" actId="207"/>
          <ac:spMkLst>
            <pc:docMk/>
            <pc:sldMk cId="705546220" sldId="264"/>
            <ac:spMk id="182" creationId="{00000000-0000-0000-0000-000000000000}"/>
          </ac:spMkLst>
        </pc:spChg>
      </pc:sldChg>
      <pc:sldChg chg="addSp delSp modSp">
        <pc:chgData name="Adam Muffitt" userId="f87af694dad07f1b" providerId="LiveId" clId="{F839BA54-D8F4-4391-8F65-E8787D51B889}" dt="2020-03-11T02:32:52.546" v="1192" actId="20577"/>
        <pc:sldMkLst>
          <pc:docMk/>
          <pc:sldMk cId="2781324357" sldId="265"/>
        </pc:sldMkLst>
        <pc:spChg chg="add mod">
          <ac:chgData name="Adam Muffitt" userId="f87af694dad07f1b" providerId="LiveId" clId="{F839BA54-D8F4-4391-8F65-E8787D51B889}" dt="2020-03-10T21:38:46.894" v="294" actId="1076"/>
          <ac:spMkLst>
            <pc:docMk/>
            <pc:sldMk cId="2781324357" sldId="265"/>
            <ac:spMk id="8" creationId="{C53BD61C-8336-4CFA-B958-0D38FAD398D0}"/>
          </ac:spMkLst>
        </pc:spChg>
        <pc:spChg chg="mod">
          <ac:chgData name="Adam Muffitt" userId="f87af694dad07f1b" providerId="LiveId" clId="{F839BA54-D8F4-4391-8F65-E8787D51B889}" dt="2020-03-11T02:32:52.546" v="1192" actId="20577"/>
          <ac:spMkLst>
            <pc:docMk/>
            <pc:sldMk cId="2781324357" sldId="265"/>
            <ac:spMk id="26" creationId="{B6A2C6C7-B0DF-4446-8947-FB9951821467}"/>
          </ac:spMkLst>
        </pc:spChg>
        <pc:spChg chg="del">
          <ac:chgData name="Adam Muffitt" userId="f87af694dad07f1b" providerId="LiveId" clId="{F839BA54-D8F4-4391-8F65-E8787D51B889}" dt="2020-03-10T21:38:08.401" v="288" actId="21"/>
          <ac:spMkLst>
            <pc:docMk/>
            <pc:sldMk cId="2781324357" sldId="265"/>
            <ac:spMk id="32" creationId="{8A43817D-7542-4D66-A58A-A93073F79F75}"/>
          </ac:spMkLst>
        </pc:spChg>
      </pc:sldChg>
      <pc:sldChg chg="modSp">
        <pc:chgData name="Adam Muffitt" userId="f87af694dad07f1b" providerId="LiveId" clId="{F839BA54-D8F4-4391-8F65-E8787D51B889}" dt="2020-03-11T01:46:57.658" v="1137" actId="207"/>
        <pc:sldMkLst>
          <pc:docMk/>
          <pc:sldMk cId="1674657168" sldId="266"/>
        </pc:sldMkLst>
        <pc:spChg chg="mod">
          <ac:chgData name="Adam Muffitt" userId="f87af694dad07f1b" providerId="LiveId" clId="{F839BA54-D8F4-4391-8F65-E8787D51B889}" dt="2020-03-11T01:46:57.658" v="1137" actId="207"/>
          <ac:spMkLst>
            <pc:docMk/>
            <pc:sldMk cId="1674657168" sldId="266"/>
            <ac:spMk id="182" creationId="{00000000-0000-0000-0000-000000000000}"/>
          </ac:spMkLst>
        </pc:spChg>
      </pc:sldChg>
      <pc:sldChg chg="modSp">
        <pc:chgData name="Adam Muffitt" userId="f87af694dad07f1b" providerId="LiveId" clId="{F839BA54-D8F4-4391-8F65-E8787D51B889}" dt="2020-03-11T02:00:01.968" v="1180" actId="207"/>
        <pc:sldMkLst>
          <pc:docMk/>
          <pc:sldMk cId="1591983399" sldId="267"/>
        </pc:sldMkLst>
        <pc:spChg chg="mod">
          <ac:chgData name="Adam Muffitt" userId="f87af694dad07f1b" providerId="LiveId" clId="{F839BA54-D8F4-4391-8F65-E8787D51B889}" dt="2020-03-11T02:00:01.968" v="1180" actId="207"/>
          <ac:spMkLst>
            <pc:docMk/>
            <pc:sldMk cId="1591983399" sldId="267"/>
            <ac:spMk id="2" creationId="{07A5B8E1-5616-421E-A6AB-97DE892DA913}"/>
          </ac:spMkLst>
        </pc:spChg>
      </pc:sldChg>
      <pc:sldChg chg="addSp delSp modSp add ord">
        <pc:chgData name="Adam Muffitt" userId="f87af694dad07f1b" providerId="LiveId" clId="{F839BA54-D8F4-4391-8F65-E8787D51B889}" dt="2020-03-10T21:37:20.777" v="286" actId="14100"/>
        <pc:sldMkLst>
          <pc:docMk/>
          <pc:sldMk cId="0" sldId="268"/>
        </pc:sldMkLst>
        <pc:spChg chg="add mod">
          <ac:chgData name="Adam Muffitt" userId="f87af694dad07f1b" providerId="LiveId" clId="{F839BA54-D8F4-4391-8F65-E8787D51B889}" dt="2020-03-10T21:24:11.920" v="29" actId="2085"/>
          <ac:spMkLst>
            <pc:docMk/>
            <pc:sldMk cId="0" sldId="268"/>
            <ac:spMk id="3" creationId="{BC9526B5-5C38-45C7-B7AA-BCA569803B03}"/>
          </ac:spMkLst>
        </pc:spChg>
        <pc:spChg chg="mod">
          <ac:chgData name="Adam Muffitt" userId="f87af694dad07f1b" providerId="LiveId" clId="{F839BA54-D8F4-4391-8F65-E8787D51B889}" dt="2020-03-10T21:32:25.846" v="279" actId="1035"/>
          <ac:spMkLst>
            <pc:docMk/>
            <pc:sldMk cId="0" sldId="268"/>
            <ac:spMk id="41" creationId="{00000000-0000-0000-0000-000000000000}"/>
          </ac:spMkLst>
        </pc:spChg>
        <pc:spChg chg="del mod">
          <ac:chgData name="Adam Muffitt" userId="f87af694dad07f1b" providerId="LiveId" clId="{F839BA54-D8F4-4391-8F65-E8787D51B889}" dt="2020-03-10T21:26:48.315" v="198" actId="478"/>
          <ac:spMkLst>
            <pc:docMk/>
            <pc:sldMk cId="0" sldId="268"/>
            <ac:spMk id="42" creationId="{00000000-0000-0000-0000-000000000000}"/>
          </ac:spMkLst>
        </pc:spChg>
        <pc:spChg chg="mod">
          <ac:chgData name="Adam Muffitt" userId="f87af694dad07f1b" providerId="LiveId" clId="{F839BA54-D8F4-4391-8F65-E8787D51B889}" dt="2020-03-10T21:30:11.924" v="212" actId="1076"/>
          <ac:spMkLst>
            <pc:docMk/>
            <pc:sldMk cId="0" sldId="268"/>
            <ac:spMk id="43" creationId="{00000000-0000-0000-0000-000000000000}"/>
          </ac:spMkLst>
        </pc:spChg>
        <pc:picChg chg="add mod">
          <ac:chgData name="Adam Muffitt" userId="f87af694dad07f1b" providerId="LiveId" clId="{F839BA54-D8F4-4391-8F65-E8787D51B889}" dt="2020-03-10T21:37:20.777" v="286" actId="14100"/>
          <ac:picMkLst>
            <pc:docMk/>
            <pc:sldMk cId="0" sldId="268"/>
            <ac:picMk id="4" creationId="{4E55E35A-8EF2-4100-A87C-31C112D3508C}"/>
          </ac:picMkLst>
        </pc:picChg>
        <pc:picChg chg="add mod">
          <ac:chgData name="Adam Muffitt" userId="f87af694dad07f1b" providerId="LiveId" clId="{F839BA54-D8F4-4391-8F65-E8787D51B889}" dt="2020-03-10T21:37:07.361" v="285" actId="1076"/>
          <ac:picMkLst>
            <pc:docMk/>
            <pc:sldMk cId="0" sldId="268"/>
            <ac:picMk id="5" creationId="{21C7E244-513A-4669-B50C-496409C07A53}"/>
          </ac:picMkLst>
        </pc:picChg>
      </pc:sldChg>
    </pc:docChg>
  </pc:docChgLst>
  <pc:docChgLst>
    <pc:chgData name="Sharon Shandukani" userId="b3f2d01030c4b3d8" providerId="Windows Live" clId="Web-{F1402348-380B-4AD9-BE6D-94D074842C4D}"/>
    <pc:docChg chg="">
      <pc:chgData name="Sharon Shandukani" userId="b3f2d01030c4b3d8" providerId="Windows Live" clId="Web-{F1402348-380B-4AD9-BE6D-94D074842C4D}" dt="2020-03-11T19:46:02.948" v="1"/>
      <pc:docMkLst>
        <pc:docMk/>
      </pc:docMkLst>
      <pc:sldChg chg="addCm">
        <pc:chgData name="Sharon Shandukani" userId="b3f2d01030c4b3d8" providerId="Windows Live" clId="Web-{F1402348-380B-4AD9-BE6D-94D074842C4D}" dt="2020-03-11T19:46:02.948" v="1"/>
        <pc:sldMkLst>
          <pc:docMk/>
          <pc:sldMk cId="2781324357" sldId="265"/>
        </pc:sldMkLst>
      </pc:sldChg>
    </pc:docChg>
  </pc:docChgLst>
  <pc:docChgLst>
    <pc:chgData name="Adam Muffitt" userId="f87af694dad07f1b" providerId="LiveId" clId="{29EC9397-52E1-4938-A8CB-FC64E8CF10AD}"/>
    <pc:docChg chg="undo custSel delSld modSld">
      <pc:chgData name="Adam Muffitt" userId="f87af694dad07f1b" providerId="LiveId" clId="{29EC9397-52E1-4938-A8CB-FC64E8CF10AD}" dt="2020-03-10T01:30:34.868" v="278" actId="14100"/>
      <pc:docMkLst>
        <pc:docMk/>
      </pc:docMkLst>
      <pc:sldChg chg="addSp modSp">
        <pc:chgData name="Adam Muffitt" userId="f87af694dad07f1b" providerId="LiveId" clId="{29EC9397-52E1-4938-A8CB-FC64E8CF10AD}" dt="2020-03-10T01:30:34.868" v="278" actId="14100"/>
        <pc:sldMkLst>
          <pc:docMk/>
          <pc:sldMk cId="2053780298" sldId="261"/>
        </pc:sldMkLst>
        <pc:picChg chg="mod">
          <ac:chgData name="Adam Muffitt" userId="f87af694dad07f1b" providerId="LiveId" clId="{29EC9397-52E1-4938-A8CB-FC64E8CF10AD}" dt="2020-03-10T01:30:26.276" v="275" actId="14100"/>
          <ac:picMkLst>
            <pc:docMk/>
            <pc:sldMk cId="2053780298" sldId="261"/>
            <ac:picMk id="20" creationId="{07E60924-48B5-4B84-8579-3D29E3D5D4E6}"/>
          </ac:picMkLst>
        </pc:picChg>
        <pc:picChg chg="mod">
          <ac:chgData name="Adam Muffitt" userId="f87af694dad07f1b" providerId="LiveId" clId="{29EC9397-52E1-4938-A8CB-FC64E8CF10AD}" dt="2020-03-10T01:30:34.868" v="278" actId="14100"/>
          <ac:picMkLst>
            <pc:docMk/>
            <pc:sldMk cId="2053780298" sldId="261"/>
            <ac:picMk id="22" creationId="{D73255FA-7409-468D-B9B1-29DB8CA40CE1}"/>
          </ac:picMkLst>
        </pc:picChg>
        <pc:cxnChg chg="add mod">
          <ac:chgData name="Adam Muffitt" userId="f87af694dad07f1b" providerId="LiveId" clId="{29EC9397-52E1-4938-A8CB-FC64E8CF10AD}" dt="2020-03-10T01:30:07.955" v="272" actId="14100"/>
          <ac:cxnSpMkLst>
            <pc:docMk/>
            <pc:sldMk cId="2053780298" sldId="261"/>
            <ac:cxnSpMk id="5" creationId="{7DA86EDA-097F-4D83-B4F4-AB5F5F43750A}"/>
          </ac:cxnSpMkLst>
        </pc:cxnChg>
        <pc:cxnChg chg="add mod">
          <ac:chgData name="Adam Muffitt" userId="f87af694dad07f1b" providerId="LiveId" clId="{29EC9397-52E1-4938-A8CB-FC64E8CF10AD}" dt="2020-03-10T01:29:10.689" v="29" actId="1038"/>
          <ac:cxnSpMkLst>
            <pc:docMk/>
            <pc:sldMk cId="2053780298" sldId="261"/>
            <ac:cxnSpMk id="14" creationId="{94CA78C7-B239-4048-9CAA-A60139C3285C}"/>
          </ac:cxnSpMkLst>
        </pc:cxnChg>
        <pc:cxnChg chg="add mod">
          <ac:chgData name="Adam Muffitt" userId="f87af694dad07f1b" providerId="LiveId" clId="{29EC9397-52E1-4938-A8CB-FC64E8CF10AD}" dt="2020-03-10T01:29:31.036" v="167" actId="14100"/>
          <ac:cxnSpMkLst>
            <pc:docMk/>
            <pc:sldMk cId="2053780298" sldId="261"/>
            <ac:cxnSpMk id="24" creationId="{9B7E6C46-57E9-48CC-B9A7-7FA3CFA5D927}"/>
          </ac:cxnSpMkLst>
        </pc:cxnChg>
        <pc:cxnChg chg="add mod">
          <ac:chgData name="Adam Muffitt" userId="f87af694dad07f1b" providerId="LiveId" clId="{29EC9397-52E1-4938-A8CB-FC64E8CF10AD}" dt="2020-03-10T01:29:31.036" v="167" actId="14100"/>
          <ac:cxnSpMkLst>
            <pc:docMk/>
            <pc:sldMk cId="2053780298" sldId="261"/>
            <ac:cxnSpMk id="25" creationId="{6C023AED-F655-4B84-9ABC-FC992249B804}"/>
          </ac:cxnSpMkLst>
        </pc:cxnChg>
        <pc:cxnChg chg="add mod">
          <ac:chgData name="Adam Muffitt" userId="f87af694dad07f1b" providerId="LiveId" clId="{29EC9397-52E1-4938-A8CB-FC64E8CF10AD}" dt="2020-03-10T01:29:57.049" v="271" actId="14100"/>
          <ac:cxnSpMkLst>
            <pc:docMk/>
            <pc:sldMk cId="2053780298" sldId="261"/>
            <ac:cxnSpMk id="28" creationId="{5B3784BD-1692-40C0-8EBE-2BBBBB30E460}"/>
          </ac:cxnSpMkLst>
        </pc:cxnChg>
        <pc:cxnChg chg="add mod">
          <ac:chgData name="Adam Muffitt" userId="f87af694dad07f1b" providerId="LiveId" clId="{29EC9397-52E1-4938-A8CB-FC64E8CF10AD}" dt="2020-03-10T01:29:57.049" v="271" actId="14100"/>
          <ac:cxnSpMkLst>
            <pc:docMk/>
            <pc:sldMk cId="2053780298" sldId="261"/>
            <ac:cxnSpMk id="29" creationId="{FCE7C9CA-522A-45CF-954F-861436C453BB}"/>
          </ac:cxnSpMkLst>
        </pc:cxnChg>
      </pc:sldChg>
      <pc:sldChg chg="del">
        <pc:chgData name="Adam Muffitt" userId="f87af694dad07f1b" providerId="LiveId" clId="{29EC9397-52E1-4938-A8CB-FC64E8CF10AD}" dt="2020-03-10T01:26:06.486" v="0" actId="47"/>
        <pc:sldMkLst>
          <pc:docMk/>
          <pc:sldMk cId="607791061" sldId="263"/>
        </pc:sldMkLst>
      </pc:sldChg>
      <pc:sldMasterChg chg="delSldLayout">
        <pc:chgData name="Adam Muffitt" userId="f87af694dad07f1b" providerId="LiveId" clId="{29EC9397-52E1-4938-A8CB-FC64E8CF10AD}" dt="2020-03-10T01:26:06.486" v="0" actId="47"/>
        <pc:sldMasterMkLst>
          <pc:docMk/>
          <pc:sldMasterMk cId="294880314" sldId="2147483660"/>
        </pc:sldMasterMkLst>
        <pc:sldLayoutChg chg="del">
          <pc:chgData name="Adam Muffitt" userId="f87af694dad07f1b" providerId="LiveId" clId="{29EC9397-52E1-4938-A8CB-FC64E8CF10AD}" dt="2020-03-10T01:26:06.486" v="0" actId="47"/>
          <pc:sldLayoutMkLst>
            <pc:docMk/>
            <pc:sldMasterMk cId="294880314" sldId="2147483660"/>
            <pc:sldLayoutMk cId="785946998" sldId="2147483662"/>
          </pc:sldLayoutMkLst>
        </pc:sldLayoutChg>
      </pc:sldMaster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d.docs.live.net/f87af694dad07f1b/Springboard_Shared/Adam%20Muffitt%20Capstone%20Project/kc_house_data_rev.xlsx" TargetMode="External"/><Relationship Id="rId4" Type="http://schemas.openxmlformats.org/officeDocument/2006/relationships/themeOverride" Target="../theme/themeOverride1.xm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kc_house_data_rev!$E$2:$E$21614</cx:f>
        <cx:lvl ptCount="21613" formatCode="&quot;$&quot;#,##0">
          <cx:pt idx="0">7700000</cx:pt>
          <cx:pt idx="1">7062500</cx:pt>
          <cx:pt idx="2">6885000</cx:pt>
          <cx:pt idx="3">5570000</cx:pt>
          <cx:pt idx="4">5350000</cx:pt>
          <cx:pt idx="5">5300000</cx:pt>
          <cx:pt idx="6">5110800</cx:pt>
          <cx:pt idx="7">4668000</cx:pt>
          <cx:pt idx="8">4500000</cx:pt>
          <cx:pt idx="9">4489000</cx:pt>
          <cx:pt idx="10">4208000</cx:pt>
          <cx:pt idx="11">4000000</cx:pt>
          <cx:pt idx="12">3850000</cx:pt>
          <cx:pt idx="13">3800000</cx:pt>
          <cx:pt idx="14">3800000</cx:pt>
          <cx:pt idx="15">3710000</cx:pt>
          <cx:pt idx="16">3650000</cx:pt>
          <cx:pt idx="17">3650000</cx:pt>
          <cx:pt idx="18">3640900</cx:pt>
          <cx:pt idx="19">3635000</cx:pt>
          <cx:pt idx="20">3600000</cx:pt>
          <cx:pt idx="21">3567000</cx:pt>
          <cx:pt idx="22">3418800</cx:pt>
          <cx:pt idx="23">3400000</cx:pt>
          <cx:pt idx="24">3400000</cx:pt>
          <cx:pt idx="25">3395000</cx:pt>
          <cx:pt idx="26">3345000</cx:pt>
          <cx:pt idx="27">3300000</cx:pt>
          <cx:pt idx="28">3300000</cx:pt>
          <cx:pt idx="29">3300000</cx:pt>
          <cx:pt idx="30">3300000</cx:pt>
          <cx:pt idx="31">3278000</cx:pt>
          <cx:pt idx="32">3204000</cx:pt>
          <cx:pt idx="33">3200000</cx:pt>
          <cx:pt idx="34">3200000</cx:pt>
          <cx:pt idx="35">3200000</cx:pt>
          <cx:pt idx="36">3200000</cx:pt>
          <cx:pt idx="37">3168750</cx:pt>
          <cx:pt idx="38">3120000</cx:pt>
          <cx:pt idx="39">3100000</cx:pt>
          <cx:pt idx="40">3100000</cx:pt>
          <cx:pt idx="41">3100000</cx:pt>
          <cx:pt idx="42">3075000</cx:pt>
          <cx:pt idx="43">3070000</cx:pt>
          <cx:pt idx="44">3065000</cx:pt>
          <cx:pt idx="45">3000000</cx:pt>
          <cx:pt idx="46">3000000</cx:pt>
          <cx:pt idx="47">3000000</cx:pt>
          <cx:pt idx="48">3000000</cx:pt>
          <cx:pt idx="49">3000000</cx:pt>
          <cx:pt idx="50">2998000</cx:pt>
          <cx:pt idx="51">2983000</cx:pt>
          <cx:pt idx="52">2950000</cx:pt>
          <cx:pt idx="53">2950000</cx:pt>
          <cx:pt idx="54">2950000</cx:pt>
          <cx:pt idx="55">2950000</cx:pt>
          <cx:pt idx="56">2945000</cx:pt>
          <cx:pt idx="57">2920000</cx:pt>
          <cx:pt idx="58">2903000</cx:pt>
          <cx:pt idx="59">2900000</cx:pt>
          <cx:pt idx="60">2900000</cx:pt>
          <cx:pt idx="61">2900000</cx:pt>
          <cx:pt idx="62">2890000</cx:pt>
          <cx:pt idx="63">2888000</cx:pt>
          <cx:pt idx="64">2885000</cx:pt>
          <cx:pt idx="65">2880500</cx:pt>
          <cx:pt idx="66">2850000</cx:pt>
          <cx:pt idx="67">2795000</cx:pt>
          <cx:pt idx="68">2750000</cx:pt>
          <cx:pt idx="69">2750000</cx:pt>
          <cx:pt idx="70">2750000</cx:pt>
          <cx:pt idx="71">2725000</cx:pt>
          <cx:pt idx="72">2720000</cx:pt>
          <cx:pt idx="73">2700000</cx:pt>
          <cx:pt idx="74">2700000</cx:pt>
          <cx:pt idx="75">2700000</cx:pt>
          <cx:pt idx="76">2700000</cx:pt>
          <cx:pt idx="77">2700000</cx:pt>
          <cx:pt idx="78">2680000</cx:pt>
          <cx:pt idx="79">2650000</cx:pt>
          <cx:pt idx="80">2641100</cx:pt>
          <cx:pt idx="81">2630000</cx:pt>
          <cx:pt idx="82">2600000</cx:pt>
          <cx:pt idx="83">2600000</cx:pt>
          <cx:pt idx="84">2575000</cx:pt>
          <cx:pt idx="85">2575000</cx:pt>
          <cx:pt idx="86">2575000</cx:pt>
          <cx:pt idx="87">2574000</cx:pt>
          <cx:pt idx="88">2555000</cx:pt>
          <cx:pt idx="89">2546000</cx:pt>
          <cx:pt idx="90">2544750</cx:pt>
          <cx:pt idx="91">2538000</cx:pt>
          <cx:pt idx="92">2537000</cx:pt>
          <cx:pt idx="93">2535000</cx:pt>
          <cx:pt idx="94">2532000</cx:pt>
          <cx:pt idx="95">2525000</cx:pt>
          <cx:pt idx="96">2510000</cx:pt>
          <cx:pt idx="97">2500000</cx:pt>
          <cx:pt idx="98">2500000</cx:pt>
          <cx:pt idx="99">2500000</cx:pt>
          <cx:pt idx="100">2500000</cx:pt>
          <cx:pt idx="101">2500000</cx:pt>
          <cx:pt idx="102">2485000</cx:pt>
          <cx:pt idx="103">2480000</cx:pt>
          <cx:pt idx="104">2479000</cx:pt>
          <cx:pt idx="105">2475000</cx:pt>
          <cx:pt idx="106">2466350</cx:pt>
          <cx:pt idx="107">2458000</cx:pt>
          <cx:pt idx="108">2453500</cx:pt>
          <cx:pt idx="109">2450000</cx:pt>
          <cx:pt idx="110">2450000</cx:pt>
          <cx:pt idx="111">2450000</cx:pt>
          <cx:pt idx="112">2450000</cx:pt>
          <cx:pt idx="113">2415000</cx:pt>
          <cx:pt idx="114">2408000</cx:pt>
          <cx:pt idx="115">2400000</cx:pt>
          <cx:pt idx="116">2400000</cx:pt>
          <cx:pt idx="117">2400000</cx:pt>
          <cx:pt idx="118">2400000</cx:pt>
          <cx:pt idx="119">2400000</cx:pt>
          <cx:pt idx="120">2400000</cx:pt>
          <cx:pt idx="121">2400000</cx:pt>
          <cx:pt idx="122">2400000</cx:pt>
          <cx:pt idx="123">2395000</cx:pt>
          <cx:pt idx="124">2385000</cx:pt>
          <cx:pt idx="125">2384000</cx:pt>
          <cx:pt idx="126">2375000</cx:pt>
          <cx:pt idx="127">2367000</cx:pt>
          <cx:pt idx="128">2351960</cx:pt>
          <cx:pt idx="129">2350000</cx:pt>
          <cx:pt idx="130">2350000</cx:pt>
          <cx:pt idx="131">2340000</cx:pt>
          <cx:pt idx="132">2328000</cx:pt>
          <cx:pt idx="133">2321000</cx:pt>
          <cx:pt idx="134">2320000</cx:pt>
          <cx:pt idx="135">2300000</cx:pt>
          <cx:pt idx="136">2300000</cx:pt>
          <cx:pt idx="137">2300000</cx:pt>
          <cx:pt idx="138">2300000</cx:pt>
          <cx:pt idx="139">2300000</cx:pt>
          <cx:pt idx="140">2300000</cx:pt>
          <cx:pt idx="141">2300000</cx:pt>
          <cx:pt idx="142">2298000</cx:pt>
          <cx:pt idx="143">2288000</cx:pt>
          <cx:pt idx="144">2280000</cx:pt>
          <cx:pt idx="145">2271150</cx:pt>
          <cx:pt idx="146">2260000</cx:pt>
          <cx:pt idx="147">2250000</cx:pt>
          <cx:pt idx="148">2250000</cx:pt>
          <cx:pt idx="149">2250000</cx:pt>
          <cx:pt idx="150">2250000</cx:pt>
          <cx:pt idx="151">2250000</cx:pt>
          <cx:pt idx="152">2250000</cx:pt>
          <cx:pt idx="153">2250000</cx:pt>
          <cx:pt idx="154">2250000</cx:pt>
          <cx:pt idx="155">2250000</cx:pt>
          <cx:pt idx="156">2238890</cx:pt>
          <cx:pt idx="157">2230000</cx:pt>
          <cx:pt idx="158">2230000</cx:pt>
          <cx:pt idx="159">2225000</cx:pt>
          <cx:pt idx="160">2225000</cx:pt>
          <cx:pt idx="161">2225000</cx:pt>
          <cx:pt idx="162">2205000</cx:pt>
          <cx:pt idx="163">2200000</cx:pt>
          <cx:pt idx="164">2200000</cx:pt>
          <cx:pt idx="165">2200000</cx:pt>
          <cx:pt idx="166">2200000</cx:pt>
          <cx:pt idx="167">2200000</cx:pt>
          <cx:pt idx="168">2200000</cx:pt>
          <cx:pt idx="169">2200000</cx:pt>
          <cx:pt idx="170">2196000</cx:pt>
          <cx:pt idx="171">2195000</cx:pt>
          <cx:pt idx="172">2193000</cx:pt>
          <cx:pt idx="173">2187730</cx:pt>
          <cx:pt idx="174">2180000</cx:pt>
          <cx:pt idx="175">2175000</cx:pt>
          <cx:pt idx="176">2160000</cx:pt>
          <cx:pt idx="177">2152500</cx:pt>
          <cx:pt idx="178">2150000</cx:pt>
          <cx:pt idx="179">2150000</cx:pt>
          <cx:pt idx="180">2150000</cx:pt>
          <cx:pt idx="181">2147500</cx:pt>
          <cx:pt idx="182">2140000</cx:pt>
          <cx:pt idx="183">2140000</cx:pt>
          <cx:pt idx="184">2135000</cx:pt>
          <cx:pt idx="185">2125000</cx:pt>
          <cx:pt idx="186">2125000</cx:pt>
          <cx:pt idx="187">2110000</cx:pt>
          <cx:pt idx="188">2100000</cx:pt>
          <cx:pt idx="189">2095000</cx:pt>
          <cx:pt idx="190">2075000</cx:pt>
          <cx:pt idx="191">2065000</cx:pt>
          <cx:pt idx="192">2050000</cx:pt>
          <cx:pt idx="193">2050000</cx:pt>
          <cx:pt idx="194">2050000</cx:pt>
          <cx:pt idx="195">2048000</cx:pt>
          <cx:pt idx="196">2027000</cx:pt>
          <cx:pt idx="197">2005000</cx:pt>
          <cx:pt idx="198">2000000</cx:pt>
          <cx:pt idx="199">2000000</cx:pt>
          <cx:pt idx="200">2000000</cx:pt>
          <cx:pt idx="201">2000000</cx:pt>
          <cx:pt idx="202">2000000</cx:pt>
          <cx:pt idx="203">2000000</cx:pt>
          <cx:pt idx="204">2000000</cx:pt>
          <cx:pt idx="205">1999950</cx:pt>
          <cx:pt idx="206">1999000</cx:pt>
          <cx:pt idx="207">1998000</cx:pt>
          <cx:pt idx="208">1990000</cx:pt>
          <cx:pt idx="209">1989000</cx:pt>
          <cx:pt idx="210">1987500</cx:pt>
          <cx:pt idx="211">1980000</cx:pt>
          <cx:pt idx="212">1980000</cx:pt>
          <cx:pt idx="213">1975000</cx:pt>
          <cx:pt idx="214">1970000</cx:pt>
          <cx:pt idx="215">1965220</cx:pt>
          <cx:pt idx="216">1965000</cx:pt>
          <cx:pt idx="217">1960000</cx:pt>
          <cx:pt idx="218">1959000</cx:pt>
          <cx:pt idx="219">1955000</cx:pt>
          <cx:pt idx="220">1955000</cx:pt>
          <cx:pt idx="221">1950000</cx:pt>
          <cx:pt idx="222">1950000</cx:pt>
          <cx:pt idx="223">1950000</cx:pt>
          <cx:pt idx="224">1950000</cx:pt>
          <cx:pt idx="225">1950000</cx:pt>
          <cx:pt idx="226">1950000</cx:pt>
          <cx:pt idx="227">1950000</cx:pt>
          <cx:pt idx="228">1945000</cx:pt>
          <cx:pt idx="229">1940000</cx:pt>
          <cx:pt idx="230">1940000</cx:pt>
          <cx:pt idx="231">1940000</cx:pt>
          <cx:pt idx="232">1928000</cx:pt>
          <cx:pt idx="233">1925000</cx:pt>
          <cx:pt idx="234">1925000</cx:pt>
          <cx:pt idx="235">1925000</cx:pt>
          <cx:pt idx="236">1920000</cx:pt>
          <cx:pt idx="237">1920000</cx:pt>
          <cx:pt idx="238">1910000</cx:pt>
          <cx:pt idx="239">1905000</cx:pt>
          <cx:pt idx="240">1901000</cx:pt>
          <cx:pt idx="241">1900000</cx:pt>
          <cx:pt idx="242">1900000</cx:pt>
          <cx:pt idx="243">1900000</cx:pt>
          <cx:pt idx="244">1900000</cx:pt>
          <cx:pt idx="245">1900000</cx:pt>
          <cx:pt idx="246">1900000</cx:pt>
          <cx:pt idx="247">1900000</cx:pt>
          <cx:pt idx="248">1900000</cx:pt>
          <cx:pt idx="249">1900000</cx:pt>
          <cx:pt idx="250">1900000</cx:pt>
          <cx:pt idx="251">1899000</cx:pt>
          <cx:pt idx="252">1898000</cx:pt>
          <cx:pt idx="253">1898000</cx:pt>
          <cx:pt idx="254">1895000</cx:pt>
          <cx:pt idx="255">1890000</cx:pt>
          <cx:pt idx="256">1886700</cx:pt>
          <cx:pt idx="257">1881580</cx:pt>
          <cx:pt idx="258">1880000</cx:pt>
          <cx:pt idx="259">1880000</cx:pt>
          <cx:pt idx="260">1880000</cx:pt>
          <cx:pt idx="261">1875000</cx:pt>
          <cx:pt idx="262">1875000</cx:pt>
          <cx:pt idx="263">1875000</cx:pt>
          <cx:pt idx="264">1875000</cx:pt>
          <cx:pt idx="265">1870000</cx:pt>
          <cx:pt idx="266">1865000</cx:pt>
          <cx:pt idx="267">1865000</cx:pt>
          <cx:pt idx="268">1865000</cx:pt>
          <cx:pt idx="269">1862000</cx:pt>
          <cx:pt idx="270">1855000</cx:pt>
          <cx:pt idx="271">1851000</cx:pt>
          <cx:pt idx="272">1850000</cx:pt>
          <cx:pt idx="273">1850000</cx:pt>
          <cx:pt idx="274">1850000</cx:pt>
          <cx:pt idx="275">1850000</cx:pt>
          <cx:pt idx="276">1850000</cx:pt>
          <cx:pt idx="277">1850000</cx:pt>
          <cx:pt idx="278">1839900</cx:pt>
          <cx:pt idx="279">1835000</cx:pt>
          <cx:pt idx="280">1830000</cx:pt>
          <cx:pt idx="281">1825000</cx:pt>
          <cx:pt idx="282">1824100</cx:pt>
          <cx:pt idx="283">1822500</cx:pt>
          <cx:pt idx="284">1820000</cx:pt>
          <cx:pt idx="285">1815000</cx:pt>
          <cx:pt idx="286">1815000</cx:pt>
          <cx:pt idx="287">1810000</cx:pt>
          <cx:pt idx="288">1810000</cx:pt>
          <cx:pt idx="289">1810000</cx:pt>
          <cx:pt idx="290">1802750</cx:pt>
          <cx:pt idx="291">1800000</cx:pt>
          <cx:pt idx="292">1800000</cx:pt>
          <cx:pt idx="293">1800000</cx:pt>
          <cx:pt idx="294">1800000</cx:pt>
          <cx:pt idx="295">1800000</cx:pt>
          <cx:pt idx="296">1800000</cx:pt>
          <cx:pt idx="297">1800000</cx:pt>
          <cx:pt idx="298">1800000</cx:pt>
          <cx:pt idx="299">1800000</cx:pt>
          <cx:pt idx="300">1799000</cx:pt>
          <cx:pt idx="301">1795000</cx:pt>
          <cx:pt idx="302">1795000</cx:pt>
          <cx:pt idx="303">1795000</cx:pt>
          <cx:pt idx="304">1789950</cx:pt>
          <cx:pt idx="305">1785000</cx:pt>
          <cx:pt idx="306">1780000</cx:pt>
          <cx:pt idx="307">1780000</cx:pt>
          <cx:pt idx="308">1776000</cx:pt>
          <cx:pt idx="309">1775000</cx:pt>
          <cx:pt idx="310">1775000</cx:pt>
          <cx:pt idx="311">1770000</cx:pt>
          <cx:pt idx="312">1769000</cx:pt>
          <cx:pt idx="313">1765000</cx:pt>
          <cx:pt idx="314">1762000</cx:pt>
          <cx:pt idx="315">1760000</cx:pt>
          <cx:pt idx="316">1755000</cx:pt>
          <cx:pt idx="317">1755000</cx:pt>
          <cx:pt idx="318">1750000</cx:pt>
          <cx:pt idx="319">1750000</cx:pt>
          <cx:pt idx="320">1750000</cx:pt>
          <cx:pt idx="321">1750000</cx:pt>
          <cx:pt idx="322">1750000</cx:pt>
          <cx:pt idx="323">1750000</cx:pt>
          <cx:pt idx="324">1750000</cx:pt>
          <cx:pt idx="325">1749000</cx:pt>
          <cx:pt idx="326">1740000</cx:pt>
          <cx:pt idx="327">1740000</cx:pt>
          <cx:pt idx="328">1738000</cx:pt>
          <cx:pt idx="329">1735000</cx:pt>
          <cx:pt idx="330">1735000</cx:pt>
          <cx:pt idx="331">1735000</cx:pt>
          <cx:pt idx="332">1735000</cx:pt>
          <cx:pt idx="333">1730000</cx:pt>
          <cx:pt idx="334">1730000</cx:pt>
          <cx:pt idx="335">1728000</cx:pt>
          <cx:pt idx="336">1727000</cx:pt>
          <cx:pt idx="337">1720000</cx:pt>
          <cx:pt idx="338">1715000</cx:pt>
          <cx:pt idx="339">1715000</cx:pt>
          <cx:pt idx="340">1712750</cx:pt>
          <cx:pt idx="341">1712500</cx:pt>
          <cx:pt idx="342">1710000</cx:pt>
          <cx:pt idx="343">1705000</cx:pt>
          <cx:pt idx="344">1705000</cx:pt>
          <cx:pt idx="345">1702500</cx:pt>
          <cx:pt idx="346">1700000</cx:pt>
          <cx:pt idx="347">1700000</cx:pt>
          <cx:pt idx="348">1700000</cx:pt>
          <cx:pt idx="349">1700000</cx:pt>
          <cx:pt idx="350">1700000</cx:pt>
          <cx:pt idx="351">1700000</cx:pt>
          <cx:pt idx="352">1700000</cx:pt>
          <cx:pt idx="353">1700000</cx:pt>
          <cx:pt idx="354">1700000</cx:pt>
          <cx:pt idx="355">1699990</cx:pt>
          <cx:pt idx="356">1699000</cx:pt>
          <cx:pt idx="357">1698890</cx:pt>
          <cx:pt idx="358">1698000</cx:pt>
          <cx:pt idx="359">1698000</cx:pt>
          <cx:pt idx="360">1697000</cx:pt>
          <cx:pt idx="361">1695000</cx:pt>
          <cx:pt idx="362">1695000</cx:pt>
          <cx:pt idx="363">1695000</cx:pt>
          <cx:pt idx="364">1695000</cx:pt>
          <cx:pt idx="365">1695000</cx:pt>
          <cx:pt idx="366">1691000</cx:pt>
          <cx:pt idx="367">1690000</cx:pt>
          <cx:pt idx="368">1690000</cx:pt>
          <cx:pt idx="369">1688000</cx:pt>
          <cx:pt idx="370">1688000</cx:pt>
          <cx:pt idx="371">1681000</cx:pt>
          <cx:pt idx="372">1680000</cx:pt>
          <cx:pt idx="373">1680000</cx:pt>
          <cx:pt idx="374">1680000</cx:pt>
          <cx:pt idx="375">1680000</cx:pt>
          <cx:pt idx="376">1680000</cx:pt>
          <cx:pt idx="377">1680000</cx:pt>
          <cx:pt idx="378">1680000</cx:pt>
          <cx:pt idx="379">1679000</cx:pt>
          <cx:pt idx="380">1675000</cx:pt>
          <cx:pt idx="381">1675000</cx:pt>
          <cx:pt idx="382">1675000</cx:pt>
          <cx:pt idx="383">1675000</cx:pt>
          <cx:pt idx="384">1670000</cx:pt>
          <cx:pt idx="385">1665000</cx:pt>
          <cx:pt idx="386">1662000</cx:pt>
          <cx:pt idx="387">1660000</cx:pt>
          <cx:pt idx="388">1655000</cx:pt>
          <cx:pt idx="389">1655000</cx:pt>
          <cx:pt idx="390">1651000</cx:pt>
          <cx:pt idx="391">1650000</cx:pt>
          <cx:pt idx="392">1650000</cx:pt>
          <cx:pt idx="393">1650000</cx:pt>
          <cx:pt idx="394">1650000</cx:pt>
          <cx:pt idx="395">1650000</cx:pt>
          <cx:pt idx="396">1650000</cx:pt>
          <cx:pt idx="397">1650000</cx:pt>
          <cx:pt idx="398">1650000</cx:pt>
          <cx:pt idx="399">1650000</cx:pt>
          <cx:pt idx="400">1650000</cx:pt>
          <cx:pt idx="401">1650000</cx:pt>
          <cx:pt idx="402">1650000</cx:pt>
          <cx:pt idx="403">1650000</cx:pt>
          <cx:pt idx="404">1648000</cx:pt>
          <cx:pt idx="405">1646000</cx:pt>
          <cx:pt idx="406">1640000</cx:pt>
          <cx:pt idx="407">1640000</cx:pt>
          <cx:pt idx="408">1637500</cx:pt>
          <cx:pt idx="409">1636000</cx:pt>
          <cx:pt idx="410">1635000</cx:pt>
          <cx:pt idx="411">1629000</cx:pt>
          <cx:pt idx="412">1625000</cx:pt>
          <cx:pt idx="413">1625000</cx:pt>
          <cx:pt idx="414">1620500</cx:pt>
          <cx:pt idx="415">1620000</cx:pt>
          <cx:pt idx="416">1620000</cx:pt>
          <cx:pt idx="417">1620000</cx:pt>
          <cx:pt idx="418">1620000</cx:pt>
          <cx:pt idx="419">1615000</cx:pt>
          <cx:pt idx="420">1612500</cx:pt>
          <cx:pt idx="421">1610000</cx:pt>
          <cx:pt idx="422">1610000</cx:pt>
          <cx:pt idx="423">1610000</cx:pt>
          <cx:pt idx="424">1610000</cx:pt>
          <cx:pt idx="425">1605000</cx:pt>
          <cx:pt idx="426">1600000</cx:pt>
          <cx:pt idx="427">1600000</cx:pt>
          <cx:pt idx="428">1600000</cx:pt>
          <cx:pt idx="429">1600000</cx:pt>
          <cx:pt idx="430">1600000</cx:pt>
          <cx:pt idx="431">1600000</cx:pt>
          <cx:pt idx="432">1600000</cx:pt>
          <cx:pt idx="433">1600000</cx:pt>
          <cx:pt idx="434">1600000</cx:pt>
          <cx:pt idx="435">1600000</cx:pt>
          <cx:pt idx="436">1600000</cx:pt>
          <cx:pt idx="437">1600000</cx:pt>
          <cx:pt idx="438">1600000</cx:pt>
          <cx:pt idx="439">1600000</cx:pt>
          <cx:pt idx="440">1600000</cx:pt>
          <cx:pt idx="441">1600000</cx:pt>
          <cx:pt idx="442">1600000</cx:pt>
          <cx:pt idx="443">1600000</cx:pt>
          <cx:pt idx="444">1599950</cx:pt>
          <cx:pt idx="445">1598890</cx:pt>
          <cx:pt idx="446">1598000</cx:pt>
          <cx:pt idx="447">1595000</cx:pt>
          <cx:pt idx="448">1595000</cx:pt>
          <cx:pt idx="449">1595000</cx:pt>
          <cx:pt idx="450">1590000</cx:pt>
          <cx:pt idx="451">1583000</cx:pt>
          <cx:pt idx="452">1582500</cx:pt>
          <cx:pt idx="453">1580000</cx:pt>
          <cx:pt idx="454">1580000</cx:pt>
          <cx:pt idx="455">1580000</cx:pt>
          <cx:pt idx="456">1580000</cx:pt>
          <cx:pt idx="457">1580000</cx:pt>
          <cx:pt idx="458">1580000</cx:pt>
          <cx:pt idx="459">1578000</cx:pt>
          <cx:pt idx="460">1575000</cx:pt>
          <cx:pt idx="461">1575000</cx:pt>
          <cx:pt idx="462">1575000</cx:pt>
          <cx:pt idx="463">1575000</cx:pt>
          <cx:pt idx="464">1575000</cx:pt>
          <cx:pt idx="465">1575000</cx:pt>
          <cx:pt idx="466">1575000</cx:pt>
          <cx:pt idx="467">1570000</cx:pt>
          <cx:pt idx="468">1570000</cx:pt>
          <cx:pt idx="469">1570000</cx:pt>
          <cx:pt idx="470">1569500</cx:pt>
          <cx:pt idx="471">1568000</cx:pt>
          <cx:pt idx="472">1565000</cx:pt>
          <cx:pt idx="473">1565000</cx:pt>
          <cx:pt idx="474">1565000</cx:pt>
          <cx:pt idx="475">1565000</cx:pt>
          <cx:pt idx="476">1565000</cx:pt>
          <cx:pt idx="477">1564350</cx:pt>
          <cx:pt idx="478">1563100</cx:pt>
          <cx:pt idx="479">1562000</cx:pt>
          <cx:pt idx="480">1557600</cx:pt>
          <cx:pt idx="481">1555000</cx:pt>
          <cx:pt idx="482">1555000</cx:pt>
          <cx:pt idx="483">1550000</cx:pt>
          <cx:pt idx="484">1550000</cx:pt>
          <cx:pt idx="485">1550000</cx:pt>
          <cx:pt idx="486">1550000</cx:pt>
          <cx:pt idx="487">1550000</cx:pt>
          <cx:pt idx="488">1550000</cx:pt>
          <cx:pt idx="489">1550000</cx:pt>
          <cx:pt idx="490">1550000</cx:pt>
          <cx:pt idx="491">1550000</cx:pt>
          <cx:pt idx="492">1545000</cx:pt>
          <cx:pt idx="493">1544500</cx:pt>
          <cx:pt idx="494">1540000</cx:pt>
          <cx:pt idx="495">1538000</cx:pt>
          <cx:pt idx="496">1537000</cx:pt>
          <cx:pt idx="497">1535000</cx:pt>
          <cx:pt idx="498">1535000</cx:pt>
          <cx:pt idx="499">1532500</cx:pt>
          <cx:pt idx="500">1530000</cx:pt>
          <cx:pt idx="501">1525000</cx:pt>
          <cx:pt idx="502">1525000</cx:pt>
          <cx:pt idx="503">1525000</cx:pt>
          <cx:pt idx="504">1525000</cx:pt>
          <cx:pt idx="505">1520000</cx:pt>
          <cx:pt idx="506">1520000</cx:pt>
          <cx:pt idx="507">1518630</cx:pt>
          <cx:pt idx="508">1517000</cx:pt>
          <cx:pt idx="509">1515000</cx:pt>
          <cx:pt idx="510">1511250</cx:pt>
          <cx:pt idx="511">1510000</cx:pt>
          <cx:pt idx="512">1506000</cx:pt>
          <cx:pt idx="513">1505000</cx:pt>
          <cx:pt idx="514">1505000</cx:pt>
          <cx:pt idx="515">1505000</cx:pt>
          <cx:pt idx="516">1500000</cx:pt>
          <cx:pt idx="517">1500000</cx:pt>
          <cx:pt idx="518">1500000</cx:pt>
          <cx:pt idx="519">1500000</cx:pt>
          <cx:pt idx="520">1500000</cx:pt>
          <cx:pt idx="521">1500000</cx:pt>
          <cx:pt idx="522">1500000</cx:pt>
          <cx:pt idx="523">1500000</cx:pt>
          <cx:pt idx="524">1500000</cx:pt>
          <cx:pt idx="525">1500000</cx:pt>
          <cx:pt idx="526">1500000</cx:pt>
          <cx:pt idx="527">1500000</cx:pt>
          <cx:pt idx="528">1500000</cx:pt>
          <cx:pt idx="529">1500000</cx:pt>
          <cx:pt idx="530">1500000</cx:pt>
          <cx:pt idx="531">1500000</cx:pt>
          <cx:pt idx="532">1500000</cx:pt>
          <cx:pt idx="533">1495000</cx:pt>
          <cx:pt idx="534">1495000</cx:pt>
          <cx:pt idx="535">1490000</cx:pt>
          <cx:pt idx="536">1490000</cx:pt>
          <cx:pt idx="537">1490000</cx:pt>
          <cx:pt idx="538">1488000</cx:pt>
          <cx:pt idx="539">1488000</cx:pt>
          <cx:pt idx="540">1485000</cx:pt>
          <cx:pt idx="541">1485000</cx:pt>
          <cx:pt idx="542">1485000</cx:pt>
          <cx:pt idx="543">1485000</cx:pt>
          <cx:pt idx="544">1484900</cx:pt>
          <cx:pt idx="545">1482500</cx:pt>
          <cx:pt idx="546">1481000</cx:pt>
          <cx:pt idx="547">1480000</cx:pt>
          <cx:pt idx="548">1480000</cx:pt>
          <cx:pt idx="549">1480000</cx:pt>
          <cx:pt idx="550">1476000</cx:pt>
          <cx:pt idx="551">1475000</cx:pt>
          <cx:pt idx="552">1475000</cx:pt>
          <cx:pt idx="553">1475000</cx:pt>
          <cx:pt idx="554">1475000</cx:pt>
          <cx:pt idx="555">1475000</cx:pt>
          <cx:pt idx="556">1470000</cx:pt>
          <cx:pt idx="557">1468000</cx:pt>
          <cx:pt idx="558">1465000</cx:pt>
          <cx:pt idx="559">1465000</cx:pt>
          <cx:pt idx="560">1465000</cx:pt>
          <cx:pt idx="561">1465000</cx:pt>
          <cx:pt idx="562">1462500</cx:pt>
          <cx:pt idx="563">1460000</cx:pt>
          <cx:pt idx="564">1459000</cx:pt>
          <cx:pt idx="565">1457000</cx:pt>
          <cx:pt idx="566">1454000</cx:pt>
          <cx:pt idx="567">1452000</cx:pt>
          <cx:pt idx="568">1450000</cx:pt>
          <cx:pt idx="569">1450000</cx:pt>
          <cx:pt idx="570">1450000</cx:pt>
          <cx:pt idx="571">1450000</cx:pt>
          <cx:pt idx="572">1450000</cx:pt>
          <cx:pt idx="573">1450000</cx:pt>
          <cx:pt idx="574">1450000</cx:pt>
          <cx:pt idx="575">1450000</cx:pt>
          <cx:pt idx="576">1450000</cx:pt>
          <cx:pt idx="577">1450000</cx:pt>
          <cx:pt idx="578">1450000</cx:pt>
          <cx:pt idx="579">1450000</cx:pt>
          <cx:pt idx="580">1450000</cx:pt>
          <cx:pt idx="581">1450000</cx:pt>
          <cx:pt idx="582">1450000</cx:pt>
          <cx:pt idx="583">1450000</cx:pt>
          <cx:pt idx="584">1445000</cx:pt>
          <cx:pt idx="585">1445000</cx:pt>
          <cx:pt idx="586">1444000</cx:pt>
          <cx:pt idx="587">1443920</cx:pt>
          <cx:pt idx="588">1442500</cx:pt>
          <cx:pt idx="589">1442500</cx:pt>
          <cx:pt idx="590">1440000</cx:pt>
          <cx:pt idx="591">1440000</cx:pt>
          <cx:pt idx="592">1438890</cx:pt>
          <cx:pt idx="593">1437500</cx:pt>
          <cx:pt idx="594">1436000</cx:pt>
          <cx:pt idx="595">1430800</cx:pt>
          <cx:pt idx="596">1430000</cx:pt>
          <cx:pt idx="597">1430000</cx:pt>
          <cx:pt idx="598">1430000</cx:pt>
          <cx:pt idx="599">1430000</cx:pt>
          <cx:pt idx="600">1425000</cx:pt>
          <cx:pt idx="601">1425000</cx:pt>
          <cx:pt idx="602">1425000</cx:pt>
          <cx:pt idx="603">1425000</cx:pt>
          <cx:pt idx="604">1420000</cx:pt>
          <cx:pt idx="605">1419000</cx:pt>
          <cx:pt idx="606">1415000</cx:pt>
          <cx:pt idx="607">1415000</cx:pt>
          <cx:pt idx="608">1415000</cx:pt>
          <cx:pt idx="609">1411600</cx:pt>
          <cx:pt idx="610">1410000</cx:pt>
          <cx:pt idx="611">1410000</cx:pt>
          <cx:pt idx="612">1408760</cx:pt>
          <cx:pt idx="613">1406890</cx:pt>
          <cx:pt idx="614">1405000</cx:pt>
          <cx:pt idx="615">1400000</cx:pt>
          <cx:pt idx="616">1400000</cx:pt>
          <cx:pt idx="617">1400000</cx:pt>
          <cx:pt idx="618">1400000</cx:pt>
          <cx:pt idx="619">1400000</cx:pt>
          <cx:pt idx="620">1400000</cx:pt>
          <cx:pt idx="621">1400000</cx:pt>
          <cx:pt idx="622">1400000</cx:pt>
          <cx:pt idx="623">1400000</cx:pt>
          <cx:pt idx="624">1400000</cx:pt>
          <cx:pt idx="625">1400000</cx:pt>
          <cx:pt idx="626">1400000</cx:pt>
          <cx:pt idx="627">1400000</cx:pt>
          <cx:pt idx="628">1400000</cx:pt>
          <cx:pt idx="629">1400000</cx:pt>
          <cx:pt idx="630">1400000</cx:pt>
          <cx:pt idx="631">1400000</cx:pt>
          <cx:pt idx="632">1400000</cx:pt>
          <cx:pt idx="633">1400000</cx:pt>
          <cx:pt idx="634">1400000</cx:pt>
          <cx:pt idx="635">1400000</cx:pt>
          <cx:pt idx="636">1400000</cx:pt>
          <cx:pt idx="637">1400000</cx:pt>
          <cx:pt idx="638">1399950</cx:pt>
          <cx:pt idx="639">1399000</cx:pt>
          <cx:pt idx="640">1398000</cx:pt>
          <cx:pt idx="641">1398000</cx:pt>
          <cx:pt idx="642">1395710</cx:pt>
          <cx:pt idx="643">1395000</cx:pt>
          <cx:pt idx="644">1395000</cx:pt>
          <cx:pt idx="645">1395000</cx:pt>
          <cx:pt idx="646">1393000</cx:pt>
          <cx:pt idx="647">1389000</cx:pt>
          <cx:pt idx="648">1388000</cx:pt>
          <cx:pt idx="649">1388000</cx:pt>
          <cx:pt idx="650">1388000</cx:pt>
          <cx:pt idx="651">1388000</cx:pt>
          <cx:pt idx="652">1388000</cx:pt>
          <cx:pt idx="653">1387800</cx:pt>
          <cx:pt idx="654">1387000</cx:pt>
          <cx:pt idx="655">1387000</cx:pt>
          <cx:pt idx="656">1385000</cx:pt>
          <cx:pt idx="657">1385000</cx:pt>
          <cx:pt idx="658">1385000</cx:pt>
          <cx:pt idx="659">1385000</cx:pt>
          <cx:pt idx="660">1385000</cx:pt>
          <cx:pt idx="661">1385000</cx:pt>
          <cx:pt idx="662">1385000</cx:pt>
          <cx:pt idx="663">1384000</cx:pt>
          <cx:pt idx="664">1381000</cx:pt>
          <cx:pt idx="665">1380000</cx:pt>
          <cx:pt idx="666">1380000</cx:pt>
          <cx:pt idx="667">1379900</cx:pt>
          <cx:pt idx="668">1378600</cx:pt>
          <cx:pt idx="669">1378000</cx:pt>
          <cx:pt idx="670">1378000</cx:pt>
          <cx:pt idx="671">1375000</cx:pt>
          <cx:pt idx="672">1375000</cx:pt>
          <cx:pt idx="673">1375000</cx:pt>
          <cx:pt idx="674">1375000</cx:pt>
          <cx:pt idx="675">1375000</cx:pt>
          <cx:pt idx="676">1375000</cx:pt>
          <cx:pt idx="677">1370000</cx:pt>
          <cx:pt idx="678">1370000</cx:pt>
          <cx:pt idx="679">1370000</cx:pt>
          <cx:pt idx="680">1365000</cx:pt>
          <cx:pt idx="681">1365000</cx:pt>
          <cx:pt idx="682">1365000</cx:pt>
          <cx:pt idx="683">1365000</cx:pt>
          <cx:pt idx="684">1364000</cx:pt>
          <cx:pt idx="685">1362500</cx:pt>
          <cx:pt idx="686">1360000</cx:pt>
          <cx:pt idx="687">1360000</cx:pt>
          <cx:pt idx="688">1360000</cx:pt>
          <cx:pt idx="689">1356920</cx:pt>
          <cx:pt idx="690">1355000</cx:pt>
          <cx:pt idx="691">1355000</cx:pt>
          <cx:pt idx="692">1355000</cx:pt>
          <cx:pt idx="693">1355000</cx:pt>
          <cx:pt idx="694">1355000</cx:pt>
          <cx:pt idx="695">1350000</cx:pt>
          <cx:pt idx="696">1350000</cx:pt>
          <cx:pt idx="697">1350000</cx:pt>
          <cx:pt idx="698">1350000</cx:pt>
          <cx:pt idx="699">1350000</cx:pt>
          <cx:pt idx="700">1350000</cx:pt>
          <cx:pt idx="701">1350000</cx:pt>
          <cx:pt idx="702">1350000</cx:pt>
          <cx:pt idx="703">1350000</cx:pt>
          <cx:pt idx="704">1350000</cx:pt>
          <cx:pt idx="705">1350000</cx:pt>
          <cx:pt idx="706">1350000</cx:pt>
          <cx:pt idx="707">1350000</cx:pt>
          <cx:pt idx="708">1350000</cx:pt>
          <cx:pt idx="709">1350000</cx:pt>
          <cx:pt idx="710">1350000</cx:pt>
          <cx:pt idx="711">1349000</cx:pt>
          <cx:pt idx="712">1348000</cx:pt>
          <cx:pt idx="713">1348000</cx:pt>
          <cx:pt idx="714">1346400</cx:pt>
          <cx:pt idx="715">1345000</cx:pt>
          <cx:pt idx="716">1340000</cx:pt>
          <cx:pt idx="717">1340000</cx:pt>
          <cx:pt idx="718">1340000</cx:pt>
          <cx:pt idx="719">1339000</cx:pt>
          <cx:pt idx="720">1339000</cx:pt>
          <cx:pt idx="721">1339000</cx:pt>
          <cx:pt idx="722">1338750</cx:pt>
          <cx:pt idx="723">1337500</cx:pt>
          <cx:pt idx="724">1335000</cx:pt>
          <cx:pt idx="725">1335000</cx:pt>
          <cx:pt idx="726">1335000</cx:pt>
          <cx:pt idx="727">1333000</cx:pt>
          <cx:pt idx="728">1330000</cx:pt>
          <cx:pt idx="729">1330000</cx:pt>
          <cx:pt idx="730">1328000</cx:pt>
          <cx:pt idx="731">1328000</cx:pt>
          <cx:pt idx="732">1326000</cx:pt>
          <cx:pt idx="733">1325000</cx:pt>
          <cx:pt idx="734">1325000</cx:pt>
          <cx:pt idx="735">1325000</cx:pt>
          <cx:pt idx="736">1325000</cx:pt>
          <cx:pt idx="737">1325000</cx:pt>
          <cx:pt idx="738">1325000</cx:pt>
          <cx:pt idx="739">1325000</cx:pt>
          <cx:pt idx="740">1325000</cx:pt>
          <cx:pt idx="741">1325000</cx:pt>
          <cx:pt idx="742">1325000</cx:pt>
          <cx:pt idx="743">1325000</cx:pt>
          <cx:pt idx="744">1325000</cx:pt>
          <cx:pt idx="745">1325000</cx:pt>
          <cx:pt idx="746">1325000</cx:pt>
          <cx:pt idx="747">1325000</cx:pt>
          <cx:pt idx="748">1324050</cx:pt>
          <cx:pt idx="749">1321620</cx:pt>
          <cx:pt idx="750">1321500</cx:pt>
          <cx:pt idx="751">1320000</cx:pt>
          <cx:pt idx="752">1320000</cx:pt>
          <cx:pt idx="753">1320000</cx:pt>
          <cx:pt idx="754">1320000</cx:pt>
          <cx:pt idx="755">1320000</cx:pt>
          <cx:pt idx="756">1320000</cx:pt>
          <cx:pt idx="757">1315000</cx:pt>
          <cx:pt idx="758">1315000</cx:pt>
          <cx:pt idx="759">1315000</cx:pt>
          <cx:pt idx="760">1315000</cx:pt>
          <cx:pt idx="761">1313000</cx:pt>
          <cx:pt idx="762">1312000</cx:pt>
          <cx:pt idx="763">1311000</cx:pt>
          <cx:pt idx="764">1310000</cx:pt>
          <cx:pt idx="765">1310000</cx:pt>
          <cx:pt idx="766">1310000</cx:pt>
          <cx:pt idx="767">1309500</cx:pt>
          <cx:pt idx="768">1309500</cx:pt>
          <cx:pt idx="769">1308000</cx:pt>
          <cx:pt idx="770">1307000</cx:pt>
          <cx:pt idx="771">1306000</cx:pt>
          <cx:pt idx="772">1305000</cx:pt>
          <cx:pt idx="773">1305000</cx:pt>
          <cx:pt idx="774">1302000</cx:pt>
          <cx:pt idx="775">1300000</cx:pt>
          <cx:pt idx="776">1300000</cx:pt>
          <cx:pt idx="777">1300000</cx:pt>
          <cx:pt idx="778">1300000</cx:pt>
          <cx:pt idx="779">1300000</cx:pt>
          <cx:pt idx="780">1300000</cx:pt>
          <cx:pt idx="781">1300000</cx:pt>
          <cx:pt idx="782">1300000</cx:pt>
          <cx:pt idx="783">1300000</cx:pt>
          <cx:pt idx="784">1300000</cx:pt>
          <cx:pt idx="785">1300000</cx:pt>
          <cx:pt idx="786">1300000</cx:pt>
          <cx:pt idx="787">1300000</cx:pt>
          <cx:pt idx="788">1300000</cx:pt>
          <cx:pt idx="789">1300000</cx:pt>
          <cx:pt idx="790">1300000</cx:pt>
          <cx:pt idx="791">1300000</cx:pt>
          <cx:pt idx="792">1300000</cx:pt>
          <cx:pt idx="793">1300000</cx:pt>
          <cx:pt idx="794">1300000</cx:pt>
          <cx:pt idx="795">1300000</cx:pt>
          <cx:pt idx="796">1299890</cx:pt>
          <cx:pt idx="797">1298890</cx:pt>
          <cx:pt idx="798">1298000</cx:pt>
          <cx:pt idx="799">1298000</cx:pt>
          <cx:pt idx="800">1297000</cx:pt>
          <cx:pt idx="801">1295650</cx:pt>
          <cx:pt idx="802">1295000</cx:pt>
          <cx:pt idx="803">1295000</cx:pt>
          <cx:pt idx="804">1295000</cx:pt>
          <cx:pt idx="805">1295000</cx:pt>
          <cx:pt idx="806">1295000</cx:pt>
          <cx:pt idx="807">1295000</cx:pt>
          <cx:pt idx="808">1295000</cx:pt>
          <cx:pt idx="809">1295000</cx:pt>
          <cx:pt idx="810">1290000</cx:pt>
          <cx:pt idx="811">1290000</cx:pt>
          <cx:pt idx="812">1289990</cx:pt>
          <cx:pt idx="813">1289000</cx:pt>
          <cx:pt idx="814">1289000</cx:pt>
          <cx:pt idx="815">1289000</cx:pt>
          <cx:pt idx="816">1288000</cx:pt>
          <cx:pt idx="817">1288000</cx:pt>
          <cx:pt idx="818">1288000</cx:pt>
          <cx:pt idx="819">1285000</cx:pt>
          <cx:pt idx="820">1285000</cx:pt>
          <cx:pt idx="821">1285000</cx:pt>
          <cx:pt idx="822">1285000</cx:pt>
          <cx:pt idx="823">1285000</cx:pt>
          <cx:pt idx="824">1284000</cx:pt>
          <cx:pt idx="825">1280600</cx:pt>
          <cx:pt idx="826">1280000</cx:pt>
          <cx:pt idx="827">1280000</cx:pt>
          <cx:pt idx="828">1280000</cx:pt>
          <cx:pt idx="829">1280000</cx:pt>
          <cx:pt idx="830">1280000</cx:pt>
          <cx:pt idx="831">1280000</cx:pt>
          <cx:pt idx="832">1280000</cx:pt>
          <cx:pt idx="833">1280000</cx:pt>
          <cx:pt idx="834">1278000</cx:pt>
          <cx:pt idx="835">1275000</cx:pt>
          <cx:pt idx="836">1275000</cx:pt>
          <cx:pt idx="837">1275000</cx:pt>
          <cx:pt idx="838">1275000</cx:pt>
          <cx:pt idx="839">1275000</cx:pt>
          <cx:pt idx="840">1275000</cx:pt>
          <cx:pt idx="841">1275000</cx:pt>
          <cx:pt idx="842">1274950</cx:pt>
          <cx:pt idx="843">1272500</cx:pt>
          <cx:pt idx="844">1272000</cx:pt>
          <cx:pt idx="845">1272000</cx:pt>
          <cx:pt idx="846">1270000</cx:pt>
          <cx:pt idx="847">1270000</cx:pt>
          <cx:pt idx="848">1270000</cx:pt>
          <cx:pt idx="849">1268890</cx:pt>
          <cx:pt idx="850">1267500</cx:pt>
          <cx:pt idx="851">1266520</cx:pt>
          <cx:pt idx="852">1265000</cx:pt>
          <cx:pt idx="853">1265000</cx:pt>
          <cx:pt idx="854">1265000</cx:pt>
          <cx:pt idx="855">1265000</cx:pt>
          <cx:pt idx="856">1264000</cx:pt>
          <cx:pt idx="857">1262000</cx:pt>
          <cx:pt idx="858">1260500</cx:pt>
          <cx:pt idx="859">1260000</cx:pt>
          <cx:pt idx="860">1260000</cx:pt>
          <cx:pt idx="861">1260000</cx:pt>
          <cx:pt idx="862">1260000</cx:pt>
          <cx:pt idx="863">1260000</cx:pt>
          <cx:pt idx="864">1260000</cx:pt>
          <cx:pt idx="865">1258000</cx:pt>
          <cx:pt idx="866">1256500</cx:pt>
          <cx:pt idx="867">1255780</cx:pt>
          <cx:pt idx="868">1255000</cx:pt>
          <cx:pt idx="869">1255000</cx:pt>
          <cx:pt idx="870">1250000</cx:pt>
          <cx:pt idx="871">1250000</cx:pt>
          <cx:pt idx="872">1250000</cx:pt>
          <cx:pt idx="873">1250000</cx:pt>
          <cx:pt idx="874">1250000</cx:pt>
          <cx:pt idx="875">1250000</cx:pt>
          <cx:pt idx="876">1250000</cx:pt>
          <cx:pt idx="877">1250000</cx:pt>
          <cx:pt idx="878">1250000</cx:pt>
          <cx:pt idx="879">1250000</cx:pt>
          <cx:pt idx="880">1250000</cx:pt>
          <cx:pt idx="881">1250000</cx:pt>
          <cx:pt idx="882">1250000</cx:pt>
          <cx:pt idx="883">1250000</cx:pt>
          <cx:pt idx="884">1250000</cx:pt>
          <cx:pt idx="885">1250000</cx:pt>
          <cx:pt idx="886">1250000</cx:pt>
          <cx:pt idx="887">1250000</cx:pt>
          <cx:pt idx="888">1250000</cx:pt>
          <cx:pt idx="889">1250000</cx:pt>
          <cx:pt idx="890">1250000</cx:pt>
          <cx:pt idx="891">1250000</cx:pt>
          <cx:pt idx="892">1250000</cx:pt>
          <cx:pt idx="893">1250000</cx:pt>
          <cx:pt idx="894">1250000</cx:pt>
          <cx:pt idx="895">1250000</cx:pt>
          <cx:pt idx="896">1250000</cx:pt>
          <cx:pt idx="897">1249000</cx:pt>
          <cx:pt idx="898">1249000</cx:pt>
          <cx:pt idx="899">1248000</cx:pt>
          <cx:pt idx="900">1247000</cx:pt>
          <cx:pt idx="901">1245000</cx:pt>
          <cx:pt idx="902">1245000</cx:pt>
          <cx:pt idx="903">1245000</cx:pt>
          <cx:pt idx="904">1242500</cx:pt>
          <cx:pt idx="905">1242000</cx:pt>
          <cx:pt idx="906">1240420</cx:pt>
          <cx:pt idx="907">1240000</cx:pt>
          <cx:pt idx="908">1240000</cx:pt>
          <cx:pt idx="909">1240000</cx:pt>
          <cx:pt idx="910">1240000</cx:pt>
          <cx:pt idx="911">1240000</cx:pt>
          <cx:pt idx="912">1240000</cx:pt>
          <cx:pt idx="913">1240000</cx:pt>
          <cx:pt idx="914">1240000</cx:pt>
          <cx:pt idx="915">1238000</cx:pt>
          <cx:pt idx="916">1237500</cx:pt>
          <cx:pt idx="917">1237500</cx:pt>
          <cx:pt idx="918">1236300</cx:pt>
          <cx:pt idx="919">1236000</cx:pt>
          <cx:pt idx="920">1234580</cx:pt>
          <cx:pt idx="921">1234570</cx:pt>
          <cx:pt idx="922">1234000</cx:pt>
          <cx:pt idx="923">1230000</cx:pt>
          <cx:pt idx="924">1230000</cx:pt>
          <cx:pt idx="925">1230000</cx:pt>
          <cx:pt idx="926">1230000</cx:pt>
          <cx:pt idx="927">1229000</cx:pt>
          <cx:pt idx="928">1228000</cx:pt>
          <cx:pt idx="929">1227500</cx:pt>
          <cx:pt idx="930">1225000</cx:pt>
          <cx:pt idx="931">1225000</cx:pt>
          <cx:pt idx="932">1225000</cx:pt>
          <cx:pt idx="933">1225000</cx:pt>
          <cx:pt idx="934">1225000</cx:pt>
          <cx:pt idx="935">1225000</cx:pt>
          <cx:pt idx="936">1225000</cx:pt>
          <cx:pt idx="937">1225000</cx:pt>
          <cx:pt idx="938">1225000</cx:pt>
          <cx:pt idx="939">1225000</cx:pt>
          <cx:pt idx="940">1225000</cx:pt>
          <cx:pt idx="941">1225000</cx:pt>
          <cx:pt idx="942">1225000</cx:pt>
          <cx:pt idx="943">1225000</cx:pt>
          <cx:pt idx="944">1225000</cx:pt>
          <cx:pt idx="945">1222500</cx:pt>
          <cx:pt idx="946">1220000</cx:pt>
          <cx:pt idx="947">1220000</cx:pt>
          <cx:pt idx="948">1220000</cx:pt>
          <cx:pt idx="949">1220000</cx:pt>
          <cx:pt idx="950">1220000</cx:pt>
          <cx:pt idx="951">1220000</cx:pt>
          <cx:pt idx="952">1220000</cx:pt>
          <cx:pt idx="953">1218000</cx:pt>
          <cx:pt idx="954">1218000</cx:pt>
          <cx:pt idx="955">1216000</cx:pt>
          <cx:pt idx="956">1215000</cx:pt>
          <cx:pt idx="957">1215000</cx:pt>
          <cx:pt idx="958">1215000</cx:pt>
          <cx:pt idx="959">1212500</cx:pt>
          <cx:pt idx="960">1211000</cx:pt>
          <cx:pt idx="961">1210000</cx:pt>
          <cx:pt idx="962">1210000</cx:pt>
          <cx:pt idx="963">1210000</cx:pt>
          <cx:pt idx="964">1210000</cx:pt>
          <cx:pt idx="965">1210000</cx:pt>
          <cx:pt idx="966">1210000</cx:pt>
          <cx:pt idx="967">1209000</cx:pt>
          <cx:pt idx="968">1208000</cx:pt>
          <cx:pt idx="969">1208000</cx:pt>
          <cx:pt idx="970">1208000</cx:pt>
          <cx:pt idx="971">1206690</cx:pt>
          <cx:pt idx="972">1206500</cx:pt>
          <cx:pt idx="973">1205000</cx:pt>
          <cx:pt idx="974">1205000</cx:pt>
          <cx:pt idx="975">1205000</cx:pt>
          <cx:pt idx="976">1205000</cx:pt>
          <cx:pt idx="977">1205000</cx:pt>
          <cx:pt idx="978">1205000</cx:pt>
          <cx:pt idx="979">1202500</cx:pt>
          <cx:pt idx="980">1200690</cx:pt>
          <cx:pt idx="981">1200000</cx:pt>
          <cx:pt idx="982">1200000</cx:pt>
          <cx:pt idx="983">1200000</cx:pt>
          <cx:pt idx="984">1200000</cx:pt>
          <cx:pt idx="985">1200000</cx:pt>
          <cx:pt idx="986">1200000</cx:pt>
          <cx:pt idx="987">1200000</cx:pt>
          <cx:pt idx="988">1200000</cx:pt>
          <cx:pt idx="989">1200000</cx:pt>
          <cx:pt idx="990">1200000</cx:pt>
          <cx:pt idx="991">1200000</cx:pt>
          <cx:pt idx="992">1200000</cx:pt>
          <cx:pt idx="993">1200000</cx:pt>
          <cx:pt idx="994">1200000</cx:pt>
          <cx:pt idx="995">1200000</cx:pt>
          <cx:pt idx="996">1200000</cx:pt>
          <cx:pt idx="997">1200000</cx:pt>
          <cx:pt idx="998">1200000</cx:pt>
          <cx:pt idx="999">1200000</cx:pt>
          <cx:pt idx="1000">1200000</cx:pt>
          <cx:pt idx="1001">1200000</cx:pt>
          <cx:pt idx="1002">1200000</cx:pt>
          <cx:pt idx="1003">1200000</cx:pt>
          <cx:pt idx="1004">1200000</cx:pt>
          <cx:pt idx="1005">1200000</cx:pt>
          <cx:pt idx="1006">1200000</cx:pt>
          <cx:pt idx="1007">1199500</cx:pt>
          <cx:pt idx="1008">1199000</cx:pt>
          <cx:pt idx="1009">1198000</cx:pt>
          <cx:pt idx="1010">1197350</cx:pt>
          <cx:pt idx="1011">1197000</cx:pt>
          <cx:pt idx="1012">1195000</cx:pt>
          <cx:pt idx="1013">1195000</cx:pt>
          <cx:pt idx="1014">1195000</cx:pt>
          <cx:pt idx="1015">1195000</cx:pt>
          <cx:pt idx="1016">1195000</cx:pt>
          <cx:pt idx="1017">1195000</cx:pt>
          <cx:pt idx="1018">1195000</cx:pt>
          <cx:pt idx="1019">1191000</cx:pt>
          <cx:pt idx="1020">1190000</cx:pt>
          <cx:pt idx="1021">1190000</cx:pt>
          <cx:pt idx="1022">1190000</cx:pt>
          <cx:pt idx="1023">1190000</cx:pt>
          <cx:pt idx="1024">1190000</cx:pt>
          <cx:pt idx="1025">1190000</cx:pt>
          <cx:pt idx="1026">1190000</cx:pt>
          <cx:pt idx="1027">1190000</cx:pt>
          <cx:pt idx="1028">1187500</cx:pt>
          <cx:pt idx="1029">1187500</cx:pt>
          <cx:pt idx="1030">1186040</cx:pt>
          <cx:pt idx="1031">1185000</cx:pt>
          <cx:pt idx="1032">1185000</cx:pt>
          <cx:pt idx="1033">1185000</cx:pt>
          <cx:pt idx="1034">1185000</cx:pt>
          <cx:pt idx="1035">1185000</cx:pt>
          <cx:pt idx="1036">1185000</cx:pt>
          <cx:pt idx="1037">1185000</cx:pt>
          <cx:pt idx="1038">1185000</cx:pt>
          <cx:pt idx="1039">1184000</cx:pt>
          <cx:pt idx="1040">1180500</cx:pt>
          <cx:pt idx="1041">1180000</cx:pt>
          <cx:pt idx="1042">1180000</cx:pt>
          <cx:pt idx="1043">1180000</cx:pt>
          <cx:pt idx="1044">1180000</cx:pt>
          <cx:pt idx="1045">1180000</cx:pt>
          <cx:pt idx="1046">1180000</cx:pt>
          <cx:pt idx="1047">1175000</cx:pt>
          <cx:pt idx="1048">1175000</cx:pt>
          <cx:pt idx="1049">1175000</cx:pt>
          <cx:pt idx="1050">1175000</cx:pt>
          <cx:pt idx="1051">1175000</cx:pt>
          <cx:pt idx="1052">1175000</cx:pt>
          <cx:pt idx="1053">1175000</cx:pt>
          <cx:pt idx="1054">1175000</cx:pt>
          <cx:pt idx="1055">1174660</cx:pt>
          <cx:pt idx="1056">1170000</cx:pt>
          <cx:pt idx="1057">1170000</cx:pt>
          <cx:pt idx="1058">1170000</cx:pt>
          <cx:pt idx="1059">1169000</cx:pt>
          <cx:pt idx="1060">1169000</cx:pt>
          <cx:pt idx="1061">1168000</cx:pt>
          <cx:pt idx="1062">1165000</cx:pt>
          <cx:pt idx="1063">1165000</cx:pt>
          <cx:pt idx="1064">1165000</cx:pt>
          <cx:pt idx="1065">1165000</cx:pt>
          <cx:pt idx="1066">1165000</cx:pt>
          <cx:pt idx="1067">1164000</cx:pt>
          <cx:pt idx="1068">1161000</cx:pt>
          <cx:pt idx="1069">1160000</cx:pt>
          <cx:pt idx="1070">1160000</cx:pt>
          <cx:pt idx="1071">1160000</cx:pt>
          <cx:pt idx="1072">1160000</cx:pt>
          <cx:pt idx="1073">1160000</cx:pt>
          <cx:pt idx="1074">1160000</cx:pt>
          <cx:pt idx="1075">1160000</cx:pt>
          <cx:pt idx="1076">1160000</cx:pt>
          <cx:pt idx="1077">1160000</cx:pt>
          <cx:pt idx="1078">1160000</cx:pt>
          <cx:pt idx="1079">1157400</cx:pt>
          <cx:pt idx="1080">1157200</cx:pt>
          <cx:pt idx="1081">1156000</cx:pt>
          <cx:pt idx="1082">1155000</cx:pt>
          <cx:pt idx="1083">1155000</cx:pt>
          <cx:pt idx="1084">1155000</cx:pt>
          <cx:pt idx="1085">1153000</cx:pt>
          <cx:pt idx="1086">1151250</cx:pt>
          <cx:pt idx="1087">1150000</cx:pt>
          <cx:pt idx="1088">1150000</cx:pt>
          <cx:pt idx="1089">1150000</cx:pt>
          <cx:pt idx="1090">1150000</cx:pt>
          <cx:pt idx="1091">1150000</cx:pt>
          <cx:pt idx="1092">1150000</cx:pt>
          <cx:pt idx="1093">1150000</cx:pt>
          <cx:pt idx="1094">1150000</cx:pt>
          <cx:pt idx="1095">1150000</cx:pt>
          <cx:pt idx="1096">1150000</cx:pt>
          <cx:pt idx="1097">1150000</cx:pt>
          <cx:pt idx="1098">1150000</cx:pt>
          <cx:pt idx="1099">1150000</cx:pt>
          <cx:pt idx="1100">1150000</cx:pt>
          <cx:pt idx="1101">1150000</cx:pt>
          <cx:pt idx="1102">1150000</cx:pt>
          <cx:pt idx="1103">1150000</cx:pt>
          <cx:pt idx="1104">1150000</cx:pt>
          <cx:pt idx="1105">1150000</cx:pt>
          <cx:pt idx="1106">1150000</cx:pt>
          <cx:pt idx="1107">1150000</cx:pt>
          <cx:pt idx="1108">1150000</cx:pt>
          <cx:pt idx="1109">1150000</cx:pt>
          <cx:pt idx="1110">1150000</cx:pt>
          <cx:pt idx="1111">1150000</cx:pt>
          <cx:pt idx="1112">1150000</cx:pt>
          <cx:pt idx="1113">1150000</cx:pt>
          <cx:pt idx="1114">1150000</cx:pt>
          <cx:pt idx="1115">1149000</cx:pt>
          <cx:pt idx="1116">1149000</cx:pt>
          <cx:pt idx="1117">1148000</cx:pt>
          <cx:pt idx="1118">1146800</cx:pt>
          <cx:pt idx="1119">1145000</cx:pt>
          <cx:pt idx="1120">1145000</cx:pt>
          <cx:pt idx="1121">1145000</cx:pt>
          <cx:pt idx="1122">1142000</cx:pt>
          <cx:pt idx="1123">1140000</cx:pt>
          <cx:pt idx="1124">1140000</cx:pt>
          <cx:pt idx="1125">1140000</cx:pt>
          <cx:pt idx="1126">1140000</cx:pt>
          <cx:pt idx="1127">1139990</cx:pt>
          <cx:pt idx="1128">1138990</cx:pt>
          <cx:pt idx="1129">1137500</cx:pt>
          <cx:pt idx="1130">1135250</cx:pt>
          <cx:pt idx="1131">1135000</cx:pt>
          <cx:pt idx="1132">1135000</cx:pt>
          <cx:pt idx="1133">1135000</cx:pt>
          <cx:pt idx="1134">1135000</cx:pt>
          <cx:pt idx="1135">1135000</cx:pt>
          <cx:pt idx="1136">1135000</cx:pt>
          <cx:pt idx="1137">1135000</cx:pt>
          <cx:pt idx="1138">1135000</cx:pt>
          <cx:pt idx="1139">1131000</cx:pt>
          <cx:pt idx="1140">1130000</cx:pt>
          <cx:pt idx="1141">1130000</cx:pt>
          <cx:pt idx="1142">1130000</cx:pt>
          <cx:pt idx="1143">1130000</cx:pt>
          <cx:pt idx="1144">1130000</cx:pt>
          <cx:pt idx="1145">1130000</cx:pt>
          <cx:pt idx="1146">1127500</cx:pt>
          <cx:pt idx="1147">1127000</cx:pt>
          <cx:pt idx="1148">1126000</cx:pt>
          <cx:pt idx="1149">1125000</cx:pt>
          <cx:pt idx="1150">1125000</cx:pt>
          <cx:pt idx="1151">1125000</cx:pt>
          <cx:pt idx="1152">1125000</cx:pt>
          <cx:pt idx="1153">1125000</cx:pt>
          <cx:pt idx="1154">1125000</cx:pt>
          <cx:pt idx="1155">1125000</cx:pt>
          <cx:pt idx="1156">1125000</cx:pt>
          <cx:pt idx="1157">1125000</cx:pt>
          <cx:pt idx="1158">1125000</cx:pt>
          <cx:pt idx="1159">1122500</cx:pt>
          <cx:pt idx="1160">1120280</cx:pt>
          <cx:pt idx="1161">1120000</cx:pt>
          <cx:pt idx="1162">1120000</cx:pt>
          <cx:pt idx="1163">1120000</cx:pt>
          <cx:pt idx="1164">1120000</cx:pt>
          <cx:pt idx="1165">1118000</cx:pt>
          <cx:pt idx="1166">1115500</cx:pt>
          <cx:pt idx="1167">1115000</cx:pt>
          <cx:pt idx="1168">1115000</cx:pt>
          <cx:pt idx="1169">1115000</cx:pt>
          <cx:pt idx="1170">1115000</cx:pt>
          <cx:pt idx="1171">1112750</cx:pt>
          <cx:pt idx="1172">1112500</cx:pt>
          <cx:pt idx="1173">1112000</cx:pt>
          <cx:pt idx="1174">1110000</cx:pt>
          <cx:pt idx="1175">1110000</cx:pt>
          <cx:pt idx="1176">1110000</cx:pt>
          <cx:pt idx="1177">1110000</cx:pt>
          <cx:pt idx="1178">1110000</cx:pt>
          <cx:pt idx="1179">1110000</cx:pt>
          <cx:pt idx="1180">1110000</cx:pt>
          <cx:pt idx="1181">1108000</cx:pt>
          <cx:pt idx="1182">1107460</cx:pt>
          <cx:pt idx="1183">1105000</cx:pt>
          <cx:pt idx="1184">1105000</cx:pt>
          <cx:pt idx="1185">1105000</cx:pt>
          <cx:pt idx="1186">1104500</cx:pt>
          <cx:pt idx="1187">1103990</cx:pt>
          <cx:pt idx="1188">1102030</cx:pt>
          <cx:pt idx="1189">1101000</cx:pt>
          <cx:pt idx="1190">1100000</cx:pt>
          <cx:pt idx="1191">1100000</cx:pt>
          <cx:pt idx="1192">1100000</cx:pt>
          <cx:pt idx="1193">1100000</cx:pt>
          <cx:pt idx="1194">1100000</cx:pt>
          <cx:pt idx="1195">1100000</cx:pt>
          <cx:pt idx="1196">1100000</cx:pt>
          <cx:pt idx="1197">1100000</cx:pt>
          <cx:pt idx="1198">1100000</cx:pt>
          <cx:pt idx="1199">1100000</cx:pt>
          <cx:pt idx="1200">1100000</cx:pt>
          <cx:pt idx="1201">1100000</cx:pt>
          <cx:pt idx="1202">1100000</cx:pt>
          <cx:pt idx="1203">1100000</cx:pt>
          <cx:pt idx="1204">1100000</cx:pt>
          <cx:pt idx="1205">1100000</cx:pt>
          <cx:pt idx="1206">1100000</cx:pt>
          <cx:pt idx="1207">1100000</cx:pt>
          <cx:pt idx="1208">1100000</cx:pt>
          <cx:pt idx="1209">1100000</cx:pt>
          <cx:pt idx="1210">1100000</cx:pt>
          <cx:pt idx="1211">1100000</cx:pt>
          <cx:pt idx="1212">1100000</cx:pt>
          <cx:pt idx="1213">1100000</cx:pt>
          <cx:pt idx="1214">1100000</cx:pt>
          <cx:pt idx="1215">1100000</cx:pt>
          <cx:pt idx="1216">1100000</cx:pt>
          <cx:pt idx="1217">1100000</cx:pt>
          <cx:pt idx="1218">1100000</cx:pt>
          <cx:pt idx="1219">1099880</cx:pt>
          <cx:pt idx="1220">1099500</cx:pt>
          <cx:pt idx="1221">1098000</cx:pt>
          <cx:pt idx="1222">1098000</cx:pt>
          <cx:pt idx="1223">1096500</cx:pt>
          <cx:pt idx="1224">1095000</cx:pt>
          <cx:pt idx="1225">1095000</cx:pt>
          <cx:pt idx="1226">1095000</cx:pt>
          <cx:pt idx="1227">1095000</cx:pt>
          <cx:pt idx="1228">1095000</cx:pt>
          <cx:pt idx="1229">1095000</cx:pt>
          <cx:pt idx="1230">1093000</cx:pt>
          <cx:pt idx="1231">1090000</cx:pt>
          <cx:pt idx="1232">1090000</cx:pt>
          <cx:pt idx="1233">1089000</cx:pt>
          <cx:pt idx="1234">1088890</cx:pt>
          <cx:pt idx="1235">1088000</cx:pt>
          <cx:pt idx="1236">1088000</cx:pt>
          <cx:pt idx="1237">1087500</cx:pt>
          <cx:pt idx="1238">1086000</cx:pt>
          <cx:pt idx="1239">1085500</cx:pt>
          <cx:pt idx="1240">1085000</cx:pt>
          <cx:pt idx="1241">1085000</cx:pt>
          <cx:pt idx="1242">1085000</cx:pt>
          <cx:pt idx="1243">1085000</cx:pt>
          <cx:pt idx="1244">1085000</cx:pt>
          <cx:pt idx="1245">1085000</cx:pt>
          <cx:pt idx="1246">1085000</cx:pt>
          <cx:pt idx="1247">1085000</cx:pt>
          <cx:pt idx="1248">1084500</cx:pt>
          <cx:pt idx="1249">1081000</cx:pt>
          <cx:pt idx="1250">1081000</cx:pt>
          <cx:pt idx="1251">1080000</cx:pt>
          <cx:pt idx="1252">1080000</cx:pt>
          <cx:pt idx="1253">1080000</cx:pt>
          <cx:pt idx="1254">1080000</cx:pt>
          <cx:pt idx="1255">1080000</cx:pt>
          <cx:pt idx="1256">1080000</cx:pt>
          <cx:pt idx="1257">1080000</cx:pt>
          <cx:pt idx="1258">1080000</cx:pt>
          <cx:pt idx="1259">1080000</cx:pt>
          <cx:pt idx="1260">1079000</cx:pt>
          <cx:pt idx="1261">1079000</cx:pt>
          <cx:pt idx="1262">1078500</cx:pt>
          <cx:pt idx="1263">1078000</cx:pt>
          <cx:pt idx="1264">1075000</cx:pt>
          <cx:pt idx="1265">1075000</cx:pt>
          <cx:pt idx="1266">1075000</cx:pt>
          <cx:pt idx="1267">1075000</cx:pt>
          <cx:pt idx="1268">1075000</cx:pt>
          <cx:pt idx="1269">1075000</cx:pt>
          <cx:pt idx="1270">1075000</cx:pt>
          <cx:pt idx="1271">1075000</cx:pt>
          <cx:pt idx="1272">1075000</cx:pt>
          <cx:pt idx="1273">1075000</cx:pt>
          <cx:pt idx="1274">1075000</cx:pt>
          <cx:pt idx="1275">1075000</cx:pt>
          <cx:pt idx="1276">1072500</cx:pt>
          <cx:pt idx="1277">1072000</cx:pt>
          <cx:pt idx="1278">1070000</cx:pt>
          <cx:pt idx="1279">1070000</cx:pt>
          <cx:pt idx="1280">1070000</cx:pt>
          <cx:pt idx="1281">1070000</cx:pt>
          <cx:pt idx="1282">1070000</cx:pt>
          <cx:pt idx="1283">1070000</cx:pt>
          <cx:pt idx="1284">1070000</cx:pt>
          <cx:pt idx="1285">1068000</cx:pt>
          <cx:pt idx="1286">1067000</cx:pt>
          <cx:pt idx="1287">1065500</cx:pt>
          <cx:pt idx="1288">1065000</cx:pt>
          <cx:pt idx="1289">1065000</cx:pt>
          <cx:pt idx="1290">1065000</cx:pt>
          <cx:pt idx="1291">1065000</cx:pt>
          <cx:pt idx="1292">1065000</cx:pt>
          <cx:pt idx="1293">1065000</cx:pt>
          <cx:pt idx="1294">1065000</cx:pt>
          <cx:pt idx="1295">1065000</cx:pt>
          <cx:pt idx="1296">1065000</cx:pt>
          <cx:pt idx="1297">1063000</cx:pt>
          <cx:pt idx="1298">1062500</cx:pt>
          <cx:pt idx="1299">1062500</cx:pt>
          <cx:pt idx="1300">1062000</cx:pt>
          <cx:pt idx="1301">1061600</cx:pt>
          <cx:pt idx="1302">1060000</cx:pt>
          <cx:pt idx="1303">1060000</cx:pt>
          <cx:pt idx="1304">1060000</cx:pt>
          <cx:pt idx="1305">1060000</cx:pt>
          <cx:pt idx="1306">1060000</cx:pt>
          <cx:pt idx="1307">1060000</cx:pt>
          <cx:pt idx="1308">1060000</cx:pt>
          <cx:pt idx="1309">1060000</cx:pt>
          <cx:pt idx="1310">1059500</cx:pt>
          <cx:pt idx="1311">1059000</cx:pt>
          <cx:pt idx="1312">1058800</cx:pt>
          <cx:pt idx="1313">1058000</cx:pt>
          <cx:pt idx="1314">1057000</cx:pt>
          <cx:pt idx="1315">1057000</cx:pt>
          <cx:pt idx="1316">1055000</cx:pt>
          <cx:pt idx="1317">1054710</cx:pt>
          <cx:pt idx="1318">1054690</cx:pt>
          <cx:pt idx="1319">1052500</cx:pt>
          <cx:pt idx="1320">1052000</cx:pt>
          <cx:pt idx="1321">1052000</cx:pt>
          <cx:pt idx="1322">1051000</cx:pt>
          <cx:pt idx="1323">1051000</cx:pt>
          <cx:pt idx="1324">1050000</cx:pt>
          <cx:pt idx="1325">1050000</cx:pt>
          <cx:pt idx="1326">1050000</cx:pt>
          <cx:pt idx="1327">1050000</cx:pt>
          <cx:pt idx="1328">1050000</cx:pt>
          <cx:pt idx="1329">1050000</cx:pt>
          <cx:pt idx="1330">1050000</cx:pt>
          <cx:pt idx="1331">1050000</cx:pt>
          <cx:pt idx="1332">1050000</cx:pt>
          <cx:pt idx="1333">1050000</cx:pt>
          <cx:pt idx="1334">1050000</cx:pt>
          <cx:pt idx="1335">1050000</cx:pt>
          <cx:pt idx="1336">1050000</cx:pt>
          <cx:pt idx="1337">1050000</cx:pt>
          <cx:pt idx="1338">1050000</cx:pt>
          <cx:pt idx="1339">1050000</cx:pt>
          <cx:pt idx="1340">1050000</cx:pt>
          <cx:pt idx="1341">1050000</cx:pt>
          <cx:pt idx="1342">1050000</cx:pt>
          <cx:pt idx="1343">1050000</cx:pt>
          <cx:pt idx="1344">1050000</cx:pt>
          <cx:pt idx="1345">1050000</cx:pt>
          <cx:pt idx="1346">1050000</cx:pt>
          <cx:pt idx="1347">1050000</cx:pt>
          <cx:pt idx="1348">1050000</cx:pt>
          <cx:pt idx="1349">1050000</cx:pt>
          <cx:pt idx="1350">1050000</cx:pt>
          <cx:pt idx="1351">1050000</cx:pt>
          <cx:pt idx="1352">1050000</cx:pt>
          <cx:pt idx="1353">1050000</cx:pt>
          <cx:pt idx="1354">1050000</cx:pt>
          <cx:pt idx="1355">1050000</cx:pt>
          <cx:pt idx="1356">1050000</cx:pt>
          <cx:pt idx="1357">1050000</cx:pt>
          <cx:pt idx="1358">1050000</cx:pt>
          <cx:pt idx="1359">1050000</cx:pt>
          <cx:pt idx="1360">1049990</cx:pt>
          <cx:pt idx="1361">1049000</cx:pt>
          <cx:pt idx="1362">1049000</cx:pt>
          <cx:pt idx="1363">1047500</cx:pt>
          <cx:pt idx="1364">1047000</cx:pt>
          <cx:pt idx="1365">1046250</cx:pt>
          <cx:pt idx="1366">1045000</cx:pt>
          <cx:pt idx="1367">1045000</cx:pt>
          <cx:pt idx="1368">1045000</cx:pt>
          <cx:pt idx="1369">1045000</cx:pt>
          <cx:pt idx="1370">1045000</cx:pt>
          <cx:pt idx="1371">1042500</cx:pt>
          <cx:pt idx="1372">1042030</cx:pt>
          <cx:pt idx="1373">1042000</cx:pt>
          <cx:pt idx="1374">1040890</cx:pt>
          <cx:pt idx="1375">1040000</cx:pt>
          <cx:pt idx="1376">1040000</cx:pt>
          <cx:pt idx="1377">1040000</cx:pt>
          <cx:pt idx="1378">1039000</cx:pt>
          <cx:pt idx="1379">1039000</cx:pt>
          <cx:pt idx="1380">1038000</cx:pt>
          <cx:pt idx="1381">1038000</cx:pt>
          <cx:pt idx="1382">1038000</cx:pt>
          <cx:pt idx="1383">1038000</cx:pt>
          <cx:pt idx="1384">1037000</cx:pt>
          <cx:pt idx="1385">1037000</cx:pt>
          <cx:pt idx="1386">1035480</cx:pt>
          <cx:pt idx="1387">1035290</cx:pt>
          <cx:pt idx="1388">1035000</cx:pt>
          <cx:pt idx="1389">1035000</cx:pt>
          <cx:pt idx="1390">1035000</cx:pt>
          <cx:pt idx="1391">1035000</cx:pt>
          <cx:pt idx="1392">1035000</cx:pt>
          <cx:pt idx="1393">1034500</cx:pt>
          <cx:pt idx="1394">1033890</cx:pt>
          <cx:pt idx="1395">1031000</cx:pt>
          <cx:pt idx="1396">1031000</cx:pt>
          <cx:pt idx="1397">1030000</cx:pt>
          <cx:pt idx="1398">1030000</cx:pt>
          <cx:pt idx="1399">1030000</cx:pt>
          <cx:pt idx="1400">1030000</cx:pt>
          <cx:pt idx="1401">1030000</cx:pt>
          <cx:pt idx="1402">1030000</cx:pt>
          <cx:pt idx="1403">1030000</cx:pt>
          <cx:pt idx="1404">1030000</cx:pt>
          <cx:pt idx="1405">1029900</cx:pt>
          <cx:pt idx="1406">1029280</cx:pt>
          <cx:pt idx="1407">1029000</cx:pt>
          <cx:pt idx="1408">1028950</cx:pt>
          <cx:pt idx="1409">1028000</cx:pt>
          <cx:pt idx="1410">1027500</cx:pt>
          <cx:pt idx="1411">1027000</cx:pt>
          <cx:pt idx="1412">1025000</cx:pt>
          <cx:pt idx="1413">1025000</cx:pt>
          <cx:pt idx="1414">1025000</cx:pt>
          <cx:pt idx="1415">1025000</cx:pt>
          <cx:pt idx="1416">1025000</cx:pt>
          <cx:pt idx="1417">1025000</cx:pt>
          <cx:pt idx="1418">1025000</cx:pt>
          <cx:pt idx="1419">1020000</cx:pt>
          <cx:pt idx="1420">1020000</cx:pt>
          <cx:pt idx="1421">1020000</cx:pt>
          <cx:pt idx="1422">1020000</cx:pt>
          <cx:pt idx="1423">1020000</cx:pt>
          <cx:pt idx="1424">1017100</cx:pt>
          <cx:pt idx="1425">1017000</cx:pt>
          <cx:pt idx="1426">1017000</cx:pt>
          <cx:pt idx="1427">1015000</cx:pt>
          <cx:pt idx="1428">1015000</cx:pt>
          <cx:pt idx="1429">1015000</cx:pt>
          <cx:pt idx="1430">1015000</cx:pt>
          <cx:pt idx="1431">1015000</cx:pt>
          <cx:pt idx="1432">1015000</cx:pt>
          <cx:pt idx="1433">1015000</cx:pt>
          <cx:pt idx="1434">1015000</cx:pt>
          <cx:pt idx="1435">1015000</cx:pt>
          <cx:pt idx="1436">1014250</cx:pt>
          <cx:pt idx="1437">1013050</cx:pt>
          <cx:pt idx="1438">1012000</cx:pt>
          <cx:pt idx="1439">1011000</cx:pt>
          <cx:pt idx="1440">1010800</cx:pt>
          <cx:pt idx="1441">1010000</cx:pt>
          <cx:pt idx="1442">1010000</cx:pt>
          <cx:pt idx="1443">1010000</cx:pt>
          <cx:pt idx="1444">1010000</cx:pt>
          <cx:pt idx="1445">1010000</cx:pt>
          <cx:pt idx="1446">1010000</cx:pt>
          <cx:pt idx="1447">1010000</cx:pt>
          <cx:pt idx="1448">1010000</cx:pt>
          <cx:pt idx="1449">1010000</cx:pt>
          <cx:pt idx="1450">1010000</cx:pt>
          <cx:pt idx="1451">1010000</cx:pt>
          <cx:pt idx="1452">1010000</cx:pt>
          <cx:pt idx="1453">1008000</cx:pt>
          <cx:pt idx="1454">1008000</cx:pt>
          <cx:pt idx="1455">1007500</cx:pt>
          <cx:pt idx="1456">1005000</cx:pt>
          <cx:pt idx="1457">1005000</cx:pt>
          <cx:pt idx="1458">1005000</cx:pt>
          <cx:pt idx="1459">1005000</cx:pt>
          <cx:pt idx="1460">1003000</cx:pt>
          <cx:pt idx="1461">1003000</cx:pt>
          <cx:pt idx="1462">1003000</cx:pt>
          <cx:pt idx="1463">1001000</cx:pt>
          <cx:pt idx="1464">1000750</cx:pt>
          <cx:pt idx="1465">1000000</cx:pt>
          <cx:pt idx="1466">1000000</cx:pt>
          <cx:pt idx="1467">1000000</cx:pt>
          <cx:pt idx="1468">1000000</cx:pt>
          <cx:pt idx="1469">1000000</cx:pt>
          <cx:pt idx="1470">1000000</cx:pt>
          <cx:pt idx="1471">1000000</cx:pt>
          <cx:pt idx="1472">1000000</cx:pt>
          <cx:pt idx="1473">1000000</cx:pt>
          <cx:pt idx="1474">1000000</cx:pt>
          <cx:pt idx="1475">1000000</cx:pt>
          <cx:pt idx="1476">1000000</cx:pt>
          <cx:pt idx="1477">1000000</cx:pt>
          <cx:pt idx="1478">1000000</cx:pt>
          <cx:pt idx="1479">1000000</cx:pt>
          <cx:pt idx="1480">1000000</cx:pt>
          <cx:pt idx="1481">1000000</cx:pt>
          <cx:pt idx="1482">1000000</cx:pt>
          <cx:pt idx="1483">1000000</cx:pt>
          <cx:pt idx="1484">1000000</cx:pt>
          <cx:pt idx="1485">1000000</cx:pt>
          <cx:pt idx="1486">1000000</cx:pt>
          <cx:pt idx="1487">1000000</cx:pt>
          <cx:pt idx="1488">1000000</cx:pt>
          <cx:pt idx="1489">1000000</cx:pt>
          <cx:pt idx="1490">1000000</cx:pt>
          <cx:pt idx="1491">1000000</cx:pt>
          <cx:pt idx="1492">999999</cx:pt>
          <cx:pt idx="1493">999950</cx:pt>
          <cx:pt idx="1494">999950</cx:pt>
          <cx:pt idx="1495">999000</cx:pt>
          <cx:pt idx="1496">999000</cx:pt>
          <cx:pt idx="1497">999000</cx:pt>
          <cx:pt idx="1498">999000</cx:pt>
          <cx:pt idx="1499">999000</cx:pt>
          <cx:pt idx="1500">999000</cx:pt>
          <cx:pt idx="1501">998800</cx:pt>
          <cx:pt idx="1502">998500</cx:pt>
          <cx:pt idx="1503">998500</cx:pt>
          <cx:pt idx="1504">998160</cx:pt>
          <cx:pt idx="1505">998000</cx:pt>
          <cx:pt idx="1506">998000</cx:pt>
          <cx:pt idx="1507">998000</cx:pt>
          <cx:pt idx="1508">998000</cx:pt>
          <cx:pt idx="1509">998000</cx:pt>
          <cx:pt idx="1510">998000</cx:pt>
          <cx:pt idx="1511">998000</cx:pt>
          <cx:pt idx="1512">998000</cx:pt>
          <cx:pt idx="1513">998000</cx:pt>
          <cx:pt idx="1514">997950</cx:pt>
          <cx:pt idx="1515">997000</cx:pt>
          <cx:pt idx="1516">996000</cx:pt>
          <cx:pt idx="1517">995500</cx:pt>
          <cx:pt idx="1518">995000</cx:pt>
          <cx:pt idx="1519">995000</cx:pt>
          <cx:pt idx="1520">995000</cx:pt>
          <cx:pt idx="1521">995000</cx:pt>
          <cx:pt idx="1522">995000</cx:pt>
          <cx:pt idx="1523">995000</cx:pt>
          <cx:pt idx="1524">995000</cx:pt>
          <cx:pt idx="1525">995000</cx:pt>
          <cx:pt idx="1526">995000</cx:pt>
          <cx:pt idx="1527">995000</cx:pt>
          <cx:pt idx="1528">995000</cx:pt>
          <cx:pt idx="1529">994900</cx:pt>
          <cx:pt idx="1530">994000</cx:pt>
          <cx:pt idx="1531">994000</cx:pt>
          <cx:pt idx="1532">994000</cx:pt>
          <cx:pt idx="1533">993500</cx:pt>
          <cx:pt idx="1534">993000</cx:pt>
          <cx:pt idx="1535">992000</cx:pt>
          <cx:pt idx="1536">991700</cx:pt>
          <cx:pt idx="1537">991500</cx:pt>
          <cx:pt idx="1538">990400</cx:pt>
          <cx:pt idx="1539">990000</cx:pt>
          <cx:pt idx="1540">990000</cx:pt>
          <cx:pt idx="1541">990000</cx:pt>
          <cx:pt idx="1542">990000</cx:pt>
          <cx:pt idx="1543">990000</cx:pt>
          <cx:pt idx="1544">990000</cx:pt>
          <cx:pt idx="1545">990000</cx:pt>
          <cx:pt idx="1546">990000</cx:pt>
          <cx:pt idx="1547">990000</cx:pt>
          <cx:pt idx="1548">990000</cx:pt>
          <cx:pt idx="1549">990000</cx:pt>
          <cx:pt idx="1550">989990</cx:pt>
          <cx:pt idx="1551">989900</cx:pt>
          <cx:pt idx="1552">989000</cx:pt>
          <cx:pt idx="1553">989000</cx:pt>
          <cx:pt idx="1554">989000</cx:pt>
          <cx:pt idx="1555">988990</cx:pt>
          <cx:pt idx="1556">988830</cx:pt>
          <cx:pt idx="1557">988500</cx:pt>
          <cx:pt idx="1558">988000</cx:pt>
          <cx:pt idx="1559">988000</cx:pt>
          <cx:pt idx="1560">987500</cx:pt>
          <cx:pt idx="1561">987000</cx:pt>
          <cx:pt idx="1562">986000</cx:pt>
          <cx:pt idx="1563">986000</cx:pt>
          <cx:pt idx="1564">985000</cx:pt>
          <cx:pt idx="1565">985000</cx:pt>
          <cx:pt idx="1566">985000</cx:pt>
          <cx:pt idx="1567">985000</cx:pt>
          <cx:pt idx="1568">985000</cx:pt>
          <cx:pt idx="1569">985000</cx:pt>
          <cx:pt idx="1570">985000</cx:pt>
          <cx:pt idx="1571">985000</cx:pt>
          <cx:pt idx="1572">984000</cx:pt>
          <cx:pt idx="1573">982218</cx:pt>
          <cx:pt idx="1574">982000</cx:pt>
          <cx:pt idx="1575">982000</cx:pt>
          <cx:pt idx="1576">981000</cx:pt>
          <cx:pt idx="1577">981000</cx:pt>
          <cx:pt idx="1578">980000</cx:pt>
          <cx:pt idx="1579">980000</cx:pt>
          <cx:pt idx="1580">980000</cx:pt>
          <cx:pt idx="1581">980000</cx:pt>
          <cx:pt idx="1582">980000</cx:pt>
          <cx:pt idx="1583">980000</cx:pt>
          <cx:pt idx="1584">980000</cx:pt>
          <cx:pt idx="1585">980000</cx:pt>
          <cx:pt idx="1586">980000</cx:pt>
          <cx:pt idx="1587">980000</cx:pt>
          <cx:pt idx="1588">980000</cx:pt>
          <cx:pt idx="1589">980000</cx:pt>
          <cx:pt idx="1590">980000</cx:pt>
          <cx:pt idx="1591">980000</cx:pt>
          <cx:pt idx="1592">979700</cx:pt>
          <cx:pt idx="1593">979700</cx:pt>
          <cx:pt idx="1594">979500</cx:pt>
          <cx:pt idx="1595">979000</cx:pt>
          <cx:pt idx="1596">979000</cx:pt>
          <cx:pt idx="1597">978500</cx:pt>
          <cx:pt idx="1598">978000</cx:pt>
          <cx:pt idx="1599">978000</cx:pt>
          <cx:pt idx="1600">978000</cx:pt>
          <cx:pt idx="1601">976000</cx:pt>
          <cx:pt idx="1602">975000</cx:pt>
          <cx:pt idx="1603">975000</cx:pt>
          <cx:pt idx="1604">975000</cx:pt>
          <cx:pt idx="1605">975000</cx:pt>
          <cx:pt idx="1606">975000</cx:pt>
          <cx:pt idx="1607">975000</cx:pt>
          <cx:pt idx="1608">975000</cx:pt>
          <cx:pt idx="1609">975000</cx:pt>
          <cx:pt idx="1610">975000</cx:pt>
          <cx:pt idx="1611">975000</cx:pt>
          <cx:pt idx="1612">975000</cx:pt>
          <cx:pt idx="1613">975000</cx:pt>
          <cx:pt idx="1614">975000</cx:pt>
          <cx:pt idx="1615">975000</cx:pt>
          <cx:pt idx="1616">975000</cx:pt>
          <cx:pt idx="1617">975000</cx:pt>
          <cx:pt idx="1618">975000</cx:pt>
          <cx:pt idx="1619">975000</cx:pt>
          <cx:pt idx="1620">975000</cx:pt>
          <cx:pt idx="1621">975000</cx:pt>
          <cx:pt idx="1622">975000</cx:pt>
          <cx:pt idx="1623">975000</cx:pt>
          <cx:pt idx="1624">975000</cx:pt>
          <cx:pt idx="1625">975000</cx:pt>
          <cx:pt idx="1626">975000</cx:pt>
          <cx:pt idx="1627">974350</cx:pt>
          <cx:pt idx="1628">972800</cx:pt>
          <cx:pt idx="1629">972000</cx:pt>
          <cx:pt idx="1630">972000</cx:pt>
          <cx:pt idx="1631">971971</cx:pt>
          <cx:pt idx="1632">971000</cx:pt>
          <cx:pt idx="1633">970500</cx:pt>
          <cx:pt idx="1634">970000</cx:pt>
          <cx:pt idx="1635">970000</cx:pt>
          <cx:pt idx="1636">970000</cx:pt>
          <cx:pt idx="1637">970000</cx:pt>
          <cx:pt idx="1638">970000</cx:pt>
          <cx:pt idx="1639">970000</cx:pt>
          <cx:pt idx="1640">970000</cx:pt>
          <cx:pt idx="1641">970000</cx:pt>
          <cx:pt idx="1642">970000</cx:pt>
          <cx:pt idx="1643">970000</cx:pt>
          <cx:pt idx="1644">970000</cx:pt>
          <cx:pt idx="1645">970000</cx:pt>
          <cx:pt idx="1646">970000</cx:pt>
          <cx:pt idx="1647">970000</cx:pt>
          <cx:pt idx="1648">970000</cx:pt>
          <cx:pt idx="1649">970000</cx:pt>
          <cx:pt idx="1650">969990</cx:pt>
          <cx:pt idx="1651">969950</cx:pt>
          <cx:pt idx="1652">969500</cx:pt>
          <cx:pt idx="1653">969000</cx:pt>
          <cx:pt idx="1654">968933</cx:pt>
          <cx:pt idx="1655">968060</cx:pt>
          <cx:pt idx="1656">968000</cx:pt>
          <cx:pt idx="1657">968000</cx:pt>
          <cx:pt idx="1658">968000</cx:pt>
          <cx:pt idx="1659">967500</cx:pt>
          <cx:pt idx="1660">967000</cx:pt>
          <cx:pt idx="1661">967000</cx:pt>
          <cx:pt idx="1662">966000</cx:pt>
          <cx:pt idx="1663">965800</cx:pt>
          <cx:pt idx="1664">965000</cx:pt>
          <cx:pt idx="1665">965000</cx:pt>
          <cx:pt idx="1666">965000</cx:pt>
          <cx:pt idx="1667">965000</cx:pt>
          <cx:pt idx="1668">965000</cx:pt>
          <cx:pt idx="1669">965000</cx:pt>
          <cx:pt idx="1670">965000</cx:pt>
          <cx:pt idx="1671">965000</cx:pt>
          <cx:pt idx="1672">965000</cx:pt>
          <cx:pt idx="1673">964000</cx:pt>
          <cx:pt idx="1674">963990</cx:pt>
          <cx:pt idx="1675">963990</cx:pt>
          <cx:pt idx="1676">963000</cx:pt>
          <cx:pt idx="1677">963000</cx:pt>
          <cx:pt idx="1678">962800</cx:pt>
          <cx:pt idx="1679">962800</cx:pt>
          <cx:pt idx="1680">962000</cx:pt>
          <cx:pt idx="1681">962000</cx:pt>
          <cx:pt idx="1682">961500</cx:pt>
          <cx:pt idx="1683">961000</cx:pt>
          <cx:pt idx="1684">960000</cx:pt>
          <cx:pt idx="1685">960000</cx:pt>
          <cx:pt idx="1686">960000</cx:pt>
          <cx:pt idx="1687">960000</cx:pt>
          <cx:pt idx="1688">960000</cx:pt>
          <cx:pt idx="1689">960000</cx:pt>
          <cx:pt idx="1690">960000</cx:pt>
          <cx:pt idx="1691">960000</cx:pt>
          <cx:pt idx="1692">960000</cx:pt>
          <cx:pt idx="1693">960000</cx:pt>
          <cx:pt idx="1694">960000</cx:pt>
          <cx:pt idx="1695">960000</cx:pt>
          <cx:pt idx="1696">960000</cx:pt>
          <cx:pt idx="1697">960000</cx:pt>
          <cx:pt idx="1698">959900</cx:pt>
          <cx:pt idx="1699">959750</cx:pt>
          <cx:pt idx="1700">959000</cx:pt>
          <cx:pt idx="1701">959000</cx:pt>
          <cx:pt idx="1702">959000</cx:pt>
          <cx:pt idx="1703">958000</cx:pt>
          <cx:pt idx="1704">957500</cx:pt>
          <cx:pt idx="1705">957000</cx:pt>
          <cx:pt idx="1706">957000</cx:pt>
          <cx:pt idx="1707">957000</cx:pt>
          <cx:pt idx="1708">955990</cx:pt>
          <cx:pt idx="1709">955500</cx:pt>
          <cx:pt idx="1710">955000</cx:pt>
          <cx:pt idx="1711">955000</cx:pt>
          <cx:pt idx="1712">955000</cx:pt>
          <cx:pt idx="1713">955000</cx:pt>
          <cx:pt idx="1714">954500</cx:pt>
          <cx:pt idx="1715">953007</cx:pt>
          <cx:pt idx="1716">952990</cx:pt>
          <cx:pt idx="1717">952500</cx:pt>
          <cx:pt idx="1718">952000</cx:pt>
          <cx:pt idx="1719">952000</cx:pt>
          <cx:pt idx="1720">952000</cx:pt>
          <cx:pt idx="1721">951250</cx:pt>
          <cx:pt idx="1722">951000</cx:pt>
          <cx:pt idx="1723">951000</cx:pt>
          <cx:pt idx="1724">950968</cx:pt>
          <cx:pt idx="1725">950000</cx:pt>
          <cx:pt idx="1726">950000</cx:pt>
          <cx:pt idx="1727">950000</cx:pt>
          <cx:pt idx="1728">950000</cx:pt>
          <cx:pt idx="1729">950000</cx:pt>
          <cx:pt idx="1730">950000</cx:pt>
          <cx:pt idx="1731">950000</cx:pt>
          <cx:pt idx="1732">950000</cx:pt>
          <cx:pt idx="1733">950000</cx:pt>
          <cx:pt idx="1734">950000</cx:pt>
          <cx:pt idx="1735">950000</cx:pt>
          <cx:pt idx="1736">950000</cx:pt>
          <cx:pt idx="1737">950000</cx:pt>
          <cx:pt idx="1738">950000</cx:pt>
          <cx:pt idx="1739">950000</cx:pt>
          <cx:pt idx="1740">950000</cx:pt>
          <cx:pt idx="1741">950000</cx:pt>
          <cx:pt idx="1742">950000</cx:pt>
          <cx:pt idx="1743">950000</cx:pt>
          <cx:pt idx="1744">950000</cx:pt>
          <cx:pt idx="1745">950000</cx:pt>
          <cx:pt idx="1746">950000</cx:pt>
          <cx:pt idx="1747">950000</cx:pt>
          <cx:pt idx="1748">950000</cx:pt>
          <cx:pt idx="1749">950000</cx:pt>
          <cx:pt idx="1750">950000</cx:pt>
          <cx:pt idx="1751">950000</cx:pt>
          <cx:pt idx="1752">950000</cx:pt>
          <cx:pt idx="1753">950000</cx:pt>
          <cx:pt idx="1754">950000</cx:pt>
          <cx:pt idx="1755">950000</cx:pt>
          <cx:pt idx="1756">950000</cx:pt>
          <cx:pt idx="1757">950000</cx:pt>
          <cx:pt idx="1758">950000</cx:pt>
          <cx:pt idx="1759">950000</cx:pt>
          <cx:pt idx="1760">950000</cx:pt>
          <cx:pt idx="1761">950000</cx:pt>
          <cx:pt idx="1762">950000</cx:pt>
          <cx:pt idx="1763">950000</cx:pt>
          <cx:pt idx="1764">950000</cx:pt>
          <cx:pt idx="1765">950000</cx:pt>
          <cx:pt idx="1766">950000</cx:pt>
          <cx:pt idx="1767">950000</cx:pt>
          <cx:pt idx="1768">950000</cx:pt>
          <cx:pt idx="1769">950000</cx:pt>
          <cx:pt idx="1770">950000</cx:pt>
          <cx:pt idx="1771">950000</cx:pt>
          <cx:pt idx="1772">949990</cx:pt>
          <cx:pt idx="1773">949950</cx:pt>
          <cx:pt idx="1774">949950</cx:pt>
          <cx:pt idx="1775">949880</cx:pt>
          <cx:pt idx="1776">949000</cx:pt>
          <cx:pt idx="1777">949000</cx:pt>
          <cx:pt idx="1778">949000</cx:pt>
          <cx:pt idx="1779">948000</cx:pt>
          <cx:pt idx="1780">947500</cx:pt>
          <cx:pt idx="1781">947500</cx:pt>
          <cx:pt idx="1782">946000</cx:pt>
          <cx:pt idx="1783">945800</cx:pt>
          <cx:pt idx="1784">945000</cx:pt>
          <cx:pt idx="1785">945000</cx:pt>
          <cx:pt idx="1786">945000</cx:pt>
          <cx:pt idx="1787">945000</cx:pt>
          <cx:pt idx="1788">945000</cx:pt>
          <cx:pt idx="1789">943500</cx:pt>
          <cx:pt idx="1790">942990</cx:pt>
          <cx:pt idx="1791">942500</cx:pt>
          <cx:pt idx="1792">942500</cx:pt>
          <cx:pt idx="1793">942000</cx:pt>
          <cx:pt idx="1794">941500</cx:pt>
          <cx:pt idx="1795">941000</cx:pt>
          <cx:pt idx="1796">940000</cx:pt>
          <cx:pt idx="1797">940000</cx:pt>
          <cx:pt idx="1798">940000</cx:pt>
          <cx:pt idx="1799">940000</cx:pt>
          <cx:pt idx="1800">940000</cx:pt>
          <cx:pt idx="1801">940000</cx:pt>
          <cx:pt idx="1802">940000</cx:pt>
          <cx:pt idx="1803">940000</cx:pt>
          <cx:pt idx="1804">940000</cx:pt>
          <cx:pt idx="1805">940000</cx:pt>
          <cx:pt idx="1806">940000</cx:pt>
          <cx:pt idx="1807">940000</cx:pt>
          <cx:pt idx="1808">940000</cx:pt>
          <cx:pt idx="1809">939000</cx:pt>
          <cx:pt idx="1810">939000</cx:pt>
          <cx:pt idx="1811">939000</cx:pt>
          <cx:pt idx="1812">939000</cx:pt>
          <cx:pt idx="1813">938000</cx:pt>
          <cx:pt idx="1814">938000</cx:pt>
          <cx:pt idx="1815">937750</cx:pt>
          <cx:pt idx="1816">937500</cx:pt>
          <cx:pt idx="1817">937500</cx:pt>
          <cx:pt idx="1818">937500</cx:pt>
          <cx:pt idx="1819">937500</cx:pt>
          <cx:pt idx="1820">937000</cx:pt>
          <cx:pt idx="1821">936000</cx:pt>
          <cx:pt idx="1822">936000</cx:pt>
          <cx:pt idx="1823">936000</cx:pt>
          <cx:pt idx="1824">935100</cx:pt>
          <cx:pt idx="1825">935000</cx:pt>
          <cx:pt idx="1826">935000</cx:pt>
          <cx:pt idx="1827">935000</cx:pt>
          <cx:pt idx="1828">935000</cx:pt>
          <cx:pt idx="1829">935000</cx:pt>
          <cx:pt idx="1830">935000</cx:pt>
          <cx:pt idx="1831">935000</cx:pt>
          <cx:pt idx="1832">935000</cx:pt>
          <cx:pt idx="1833">935000</cx:pt>
          <cx:pt idx="1834">935000</cx:pt>
          <cx:pt idx="1835">935000</cx:pt>
          <cx:pt idx="1836">935000</cx:pt>
          <cx:pt idx="1837">935000</cx:pt>
          <cx:pt idx="1838">935000</cx:pt>
          <cx:pt idx="1839">934550</cx:pt>
          <cx:pt idx="1840">934000</cx:pt>
          <cx:pt idx="1841">933399</cx:pt>
          <cx:pt idx="1842">933000</cx:pt>
          <cx:pt idx="1843">932990</cx:pt>
          <cx:pt idx="1844">932808</cx:pt>
          <cx:pt idx="1845">932800</cx:pt>
          <cx:pt idx="1846">931088</cx:pt>
          <cx:pt idx="1847">931000</cx:pt>
          <cx:pt idx="1848">930800</cx:pt>
          <cx:pt idx="1849">930000</cx:pt>
          <cx:pt idx="1850">930000</cx:pt>
          <cx:pt idx="1851">930000</cx:pt>
          <cx:pt idx="1852">930000</cx:pt>
          <cx:pt idx="1853">930000</cx:pt>
          <cx:pt idx="1854">930000</cx:pt>
          <cx:pt idx="1855">930000</cx:pt>
          <cx:pt idx="1856">930000</cx:pt>
          <cx:pt idx="1857">930000</cx:pt>
          <cx:pt idx="1858">930000</cx:pt>
          <cx:pt idx="1859">930000</cx:pt>
          <cx:pt idx="1860">930000</cx:pt>
          <cx:pt idx="1861">930000</cx:pt>
          <cx:pt idx="1862">930000</cx:pt>
          <cx:pt idx="1863">929950</cx:pt>
          <cx:pt idx="1864">929000</cx:pt>
          <cx:pt idx="1865">929000</cx:pt>
          <cx:pt idx="1866">928990</cx:pt>
          <cx:pt idx="1867">928950</cx:pt>
          <cx:pt idx="1868">927000</cx:pt>
          <cx:pt idx="1869">926500</cx:pt>
          <cx:pt idx="1870">926300</cx:pt>
          <cx:pt idx="1871">926250</cx:pt>
          <cx:pt idx="1872">925900</cx:pt>
          <cx:pt idx="1873">925850</cx:pt>
          <cx:pt idx="1874">925500</cx:pt>
          <cx:pt idx="1875">925000</cx:pt>
          <cx:pt idx="1876">925000</cx:pt>
          <cx:pt idx="1877">925000</cx:pt>
          <cx:pt idx="1878">925000</cx:pt>
          <cx:pt idx="1879">925000</cx:pt>
          <cx:pt idx="1880">925000</cx:pt>
          <cx:pt idx="1881">925000</cx:pt>
          <cx:pt idx="1882">925000</cx:pt>
          <cx:pt idx="1883">925000</cx:pt>
          <cx:pt idx="1884">925000</cx:pt>
          <cx:pt idx="1885">925000</cx:pt>
          <cx:pt idx="1886">925000</cx:pt>
          <cx:pt idx="1887">925000</cx:pt>
          <cx:pt idx="1888">925000</cx:pt>
          <cx:pt idx="1889">925000</cx:pt>
          <cx:pt idx="1890">925000</cx:pt>
          <cx:pt idx="1891">925000</cx:pt>
          <cx:pt idx="1892">925000</cx:pt>
          <cx:pt idx="1893">925000</cx:pt>
          <cx:pt idx="1894">925000</cx:pt>
          <cx:pt idx="1895">925000</cx:pt>
          <cx:pt idx="1896">925000</cx:pt>
          <cx:pt idx="1897">925000</cx:pt>
          <cx:pt idx="1898">925000</cx:pt>
          <cx:pt idx="1899">925000</cx:pt>
          <cx:pt idx="1900">925000</cx:pt>
          <cx:pt idx="1901">925000</cx:pt>
          <cx:pt idx="1902">925000</cx:pt>
          <cx:pt idx="1903">925000</cx:pt>
          <cx:pt idx="1904">925000</cx:pt>
          <cx:pt idx="1905">925000</cx:pt>
          <cx:pt idx="1906">925000</cx:pt>
          <cx:pt idx="1907">925000</cx:pt>
          <cx:pt idx="1908">925000</cx:pt>
          <cx:pt idx="1909">925000</cx:pt>
          <cx:pt idx="1910">924000</cx:pt>
          <cx:pt idx="1911">924000</cx:pt>
          <cx:pt idx="1912">923990</cx:pt>
          <cx:pt idx="1913">922755</cx:pt>
          <cx:pt idx="1914">922000</cx:pt>
          <cx:pt idx="1915">921800</cx:pt>
          <cx:pt idx="1916">921500</cx:pt>
          <cx:pt idx="1917">921500</cx:pt>
          <cx:pt idx="1918">921000</cx:pt>
          <cx:pt idx="1919">921000</cx:pt>
          <cx:pt idx="1920">921000</cx:pt>
          <cx:pt idx="1921">920000</cx:pt>
          <cx:pt idx="1922">920000</cx:pt>
          <cx:pt idx="1923">920000</cx:pt>
          <cx:pt idx="1924">920000</cx:pt>
          <cx:pt idx="1925">920000</cx:pt>
          <cx:pt idx="1926">920000</cx:pt>
          <cx:pt idx="1927">920000</cx:pt>
          <cx:pt idx="1928">920000</cx:pt>
          <cx:pt idx="1929">920000</cx:pt>
          <cx:pt idx="1930">920000</cx:pt>
          <cx:pt idx="1931">920000</cx:pt>
          <cx:pt idx="1932">920000</cx:pt>
          <cx:pt idx="1933">920000</cx:pt>
          <cx:pt idx="1934">920000</cx:pt>
          <cx:pt idx="1935">920000</cx:pt>
          <cx:pt idx="1936">920000</cx:pt>
          <cx:pt idx="1937">920000</cx:pt>
          <cx:pt idx="1938">920000</cx:pt>
          <cx:pt idx="1939">920000</cx:pt>
          <cx:pt idx="1940">920000</cx:pt>
          <cx:pt idx="1941">920000</cx:pt>
          <cx:pt idx="1942">920000</cx:pt>
          <cx:pt idx="1943">920000</cx:pt>
          <cx:pt idx="1944">920000</cx:pt>
          <cx:pt idx="1945">920000</cx:pt>
          <cx:pt idx="1946">919990</cx:pt>
          <cx:pt idx="1947">919950</cx:pt>
          <cx:pt idx="1948">919204</cx:pt>
          <cx:pt idx="1949">919000</cx:pt>
          <cx:pt idx="1950">918000</cx:pt>
          <cx:pt idx="1951">917500</cx:pt>
          <cx:pt idx="1952">917000</cx:pt>
          <cx:pt idx="1953">915557</cx:pt>
          <cx:pt idx="1954">915000</cx:pt>
          <cx:pt idx="1955">915000</cx:pt>
          <cx:pt idx="1956">915000</cx:pt>
          <cx:pt idx="1957">915000</cx:pt>
          <cx:pt idx="1958">915000</cx:pt>
          <cx:pt idx="1959">915000</cx:pt>
          <cx:pt idx="1960">915000</cx:pt>
          <cx:pt idx="1961">915000</cx:pt>
          <cx:pt idx="1962">915000</cx:pt>
          <cx:pt idx="1963">915000</cx:pt>
          <cx:pt idx="1964">915000</cx:pt>
          <cx:pt idx="1965">915000</cx:pt>
          <cx:pt idx="1966">915000</cx:pt>
          <cx:pt idx="1967">915000</cx:pt>
          <cx:pt idx="1968">915000</cx:pt>
          <cx:pt idx="1969">915000</cx:pt>
          <cx:pt idx="1970">914600</cx:pt>
          <cx:pt idx="1971">914500</cx:pt>
          <cx:pt idx="1972">914154</cx:pt>
          <cx:pt idx="1973">913888</cx:pt>
          <cx:pt idx="1974">913000</cx:pt>
          <cx:pt idx="1975">913000</cx:pt>
          <cx:pt idx="1976">912000</cx:pt>
          <cx:pt idx="1977">912000</cx:pt>
          <cx:pt idx="1978">912000</cx:pt>
          <cx:pt idx="1979">911100</cx:pt>
          <cx:pt idx="1980">911000</cx:pt>
          <cx:pt idx="1981">910000</cx:pt>
          <cx:pt idx="1982">910000</cx:pt>
          <cx:pt idx="1983">910000</cx:pt>
          <cx:pt idx="1984">910000</cx:pt>
          <cx:pt idx="1985">910000</cx:pt>
          <cx:pt idx="1986">910000</cx:pt>
          <cx:pt idx="1987">910000</cx:pt>
          <cx:pt idx="1988">910000</cx:pt>
          <cx:pt idx="1989">910000</cx:pt>
          <cx:pt idx="1990">910000</cx:pt>
          <cx:pt idx="1991">910000</cx:pt>
          <cx:pt idx="1992">910000</cx:pt>
          <cx:pt idx="1993">910000</cx:pt>
          <cx:pt idx="1994">910000</cx:pt>
          <cx:pt idx="1995">910000</cx:pt>
          <cx:pt idx="1996">910000</cx:pt>
          <cx:pt idx="1997">910000</cx:pt>
          <cx:pt idx="1998">910000</cx:pt>
          <cx:pt idx="1999">910000</cx:pt>
          <cx:pt idx="2000">909950</cx:pt>
          <cx:pt idx="2001">909500</cx:pt>
          <cx:pt idx="2002">909000</cx:pt>
          <cx:pt idx="2003">908990</cx:pt>
          <cx:pt idx="2004">908950</cx:pt>
          <cx:pt idx="2005">908800</cx:pt>
          <cx:pt idx="2006">907687</cx:pt>
          <cx:pt idx="2007">907500</cx:pt>
          <cx:pt idx="2008">907500</cx:pt>
          <cx:pt idx="2009">907000</cx:pt>
          <cx:pt idx="2010">907000</cx:pt>
          <cx:pt idx="2011">906000</cx:pt>
          <cx:pt idx="2012">906000</cx:pt>
          <cx:pt idx="2013">905000</cx:pt>
          <cx:pt idx="2014">905000</cx:pt>
          <cx:pt idx="2015">905000</cx:pt>
          <cx:pt idx="2016">905000</cx:pt>
          <cx:pt idx="2017">905000</cx:pt>
          <cx:pt idx="2018">905000</cx:pt>
          <cx:pt idx="2019">905000</cx:pt>
          <cx:pt idx="2020">905000</cx:pt>
          <cx:pt idx="2021">905000</cx:pt>
          <cx:pt idx="2022">905000</cx:pt>
          <cx:pt idx="2023">905000</cx:pt>
          <cx:pt idx="2024">905000</cx:pt>
          <cx:pt idx="2025">905000</cx:pt>
          <cx:pt idx="2026">905000</cx:pt>
          <cx:pt idx="2027">903000</cx:pt>
          <cx:pt idx="2028">903000</cx:pt>
          <cx:pt idx="2029">902500</cx:pt>
          <cx:pt idx="2030">902000</cx:pt>
          <cx:pt idx="2031">902000</cx:pt>
          <cx:pt idx="2032">902000</cx:pt>
          <cx:pt idx="2033">901000</cx:pt>
          <cx:pt idx="2034">901000</cx:pt>
          <cx:pt idx="2035">900000</cx:pt>
          <cx:pt idx="2036">900000</cx:pt>
          <cx:pt idx="2037">900000</cx:pt>
          <cx:pt idx="2038">900000</cx:pt>
          <cx:pt idx="2039">900000</cx:pt>
          <cx:pt idx="2040">900000</cx:pt>
          <cx:pt idx="2041">900000</cx:pt>
          <cx:pt idx="2042">900000</cx:pt>
          <cx:pt idx="2043">900000</cx:pt>
          <cx:pt idx="2044">900000</cx:pt>
          <cx:pt idx="2045">900000</cx:pt>
          <cx:pt idx="2046">900000</cx:pt>
          <cx:pt idx="2047">900000</cx:pt>
          <cx:pt idx="2048">900000</cx:pt>
          <cx:pt idx="2049">900000</cx:pt>
          <cx:pt idx="2050">900000</cx:pt>
          <cx:pt idx="2051">900000</cx:pt>
          <cx:pt idx="2052">900000</cx:pt>
          <cx:pt idx="2053">900000</cx:pt>
          <cx:pt idx="2054">900000</cx:pt>
          <cx:pt idx="2055">900000</cx:pt>
          <cx:pt idx="2056">900000</cx:pt>
          <cx:pt idx="2057">900000</cx:pt>
          <cx:pt idx="2058">900000</cx:pt>
          <cx:pt idx="2059">900000</cx:pt>
          <cx:pt idx="2060">900000</cx:pt>
          <cx:pt idx="2061">900000</cx:pt>
          <cx:pt idx="2062">900000</cx:pt>
          <cx:pt idx="2063">900000</cx:pt>
          <cx:pt idx="2064">900000</cx:pt>
          <cx:pt idx="2065">900000</cx:pt>
          <cx:pt idx="2066">900000</cx:pt>
          <cx:pt idx="2067">900000</cx:pt>
          <cx:pt idx="2068">900000</cx:pt>
          <cx:pt idx="2069">900000</cx:pt>
          <cx:pt idx="2070">900000</cx:pt>
          <cx:pt idx="2071">900000</cx:pt>
          <cx:pt idx="2072">900000</cx:pt>
          <cx:pt idx="2073">900000</cx:pt>
          <cx:pt idx="2074">900000</cx:pt>
          <cx:pt idx="2075">899950</cx:pt>
          <cx:pt idx="2076">899900</cx:pt>
          <cx:pt idx="2077">899100</cx:pt>
          <cx:pt idx="2078">899000</cx:pt>
          <cx:pt idx="2079">899000</cx:pt>
          <cx:pt idx="2080">899000</cx:pt>
          <cx:pt idx="2081">899000</cx:pt>
          <cx:pt idx="2082">899000</cx:pt>
          <cx:pt idx="2083">899000</cx:pt>
          <cx:pt idx="2084">899000</cx:pt>
          <cx:pt idx="2085">899000</cx:pt>
          <cx:pt idx="2086">899000</cx:pt>
          <cx:pt idx="2087">898888</cx:pt>
          <cx:pt idx="2088">898500</cx:pt>
          <cx:pt idx="2089">898000</cx:pt>
          <cx:pt idx="2090">898000</cx:pt>
          <cx:pt idx="2091">898000</cx:pt>
          <cx:pt idx="2092">898000</cx:pt>
          <cx:pt idx="2093">898000</cx:pt>
          <cx:pt idx="2094">898000</cx:pt>
          <cx:pt idx="2095">898000</cx:pt>
          <cx:pt idx="2096">898000</cx:pt>
          <cx:pt idx="2097">897500</cx:pt>
          <cx:pt idx="2098">897000</cx:pt>
          <cx:pt idx="2099">896000</cx:pt>
          <cx:pt idx="2100">896000</cx:pt>
          <cx:pt idx="2101">896000</cx:pt>
          <cx:pt idx="2102">895990</cx:pt>
          <cx:pt idx="2103">895950</cx:pt>
          <cx:pt idx="2104">895900</cx:pt>
          <cx:pt idx="2105">895000</cx:pt>
          <cx:pt idx="2106">895000</cx:pt>
          <cx:pt idx="2107">895000</cx:pt>
          <cx:pt idx="2108">895000</cx:pt>
          <cx:pt idx="2109">895000</cx:pt>
          <cx:pt idx="2110">895000</cx:pt>
          <cx:pt idx="2111">895000</cx:pt>
          <cx:pt idx="2112">895000</cx:pt>
          <cx:pt idx="2113">895000</cx:pt>
          <cx:pt idx="2114">895000</cx:pt>
          <cx:pt idx="2115">895000</cx:pt>
          <cx:pt idx="2116">895000</cx:pt>
          <cx:pt idx="2117">895000</cx:pt>
          <cx:pt idx="2118">895000</cx:pt>
          <cx:pt idx="2119">895000</cx:pt>
          <cx:pt idx="2120">895000</cx:pt>
          <cx:pt idx="2121">895000</cx:pt>
          <cx:pt idx="2122">894400</cx:pt>
          <cx:pt idx="2123">894000</cx:pt>
          <cx:pt idx="2124">893880</cx:pt>
          <cx:pt idx="2125">892500</cx:pt>
          <cx:pt idx="2126">891500</cx:pt>
          <cx:pt idx="2127">891000</cx:pt>
          <cx:pt idx="2128">890900</cx:pt>
          <cx:pt idx="2129">890776</cx:pt>
          <cx:pt idx="2130">890000</cx:pt>
          <cx:pt idx="2131">890000</cx:pt>
          <cx:pt idx="2132">890000</cx:pt>
          <cx:pt idx="2133">890000</cx:pt>
          <cx:pt idx="2134">890000</cx:pt>
          <cx:pt idx="2135">890000</cx:pt>
          <cx:pt idx="2136">890000</cx:pt>
          <cx:pt idx="2137">890000</cx:pt>
          <cx:pt idx="2138">890000</cx:pt>
          <cx:pt idx="2139">890000</cx:pt>
          <cx:pt idx="2140">890000</cx:pt>
          <cx:pt idx="2141">890000</cx:pt>
          <cx:pt idx="2142">890000</cx:pt>
          <cx:pt idx="2143">890000</cx:pt>
          <cx:pt idx="2144">890000</cx:pt>
          <cx:pt idx="2145">890000</cx:pt>
          <cx:pt idx="2146">890000</cx:pt>
          <cx:pt idx="2147">890000</cx:pt>
          <cx:pt idx="2148">890000</cx:pt>
          <cx:pt idx="2149">889950</cx:pt>
          <cx:pt idx="2150">889950</cx:pt>
          <cx:pt idx="2151">889000</cx:pt>
          <cx:pt idx="2152">889000</cx:pt>
          <cx:pt idx="2153">889000</cx:pt>
          <cx:pt idx="2154">889000</cx:pt>
          <cx:pt idx="2155">888990</cx:pt>
          <cx:pt idx="2156">888550</cx:pt>
          <cx:pt idx="2157">888000</cx:pt>
          <cx:pt idx="2158">887500</cx:pt>
          <cx:pt idx="2159">887250</cx:pt>
          <cx:pt idx="2160">887200</cx:pt>
          <cx:pt idx="2161">887000</cx:pt>
          <cx:pt idx="2162">887000</cx:pt>
          <cx:pt idx="2163">886000</cx:pt>
          <cx:pt idx="2164">886000</cx:pt>
          <cx:pt idx="2165">885250</cx:pt>
          <cx:pt idx="2166">885000</cx:pt>
          <cx:pt idx="2167">885000</cx:pt>
          <cx:pt idx="2168">885000</cx:pt>
          <cx:pt idx="2169">885000</cx:pt>
          <cx:pt idx="2170">885000</cx:pt>
          <cx:pt idx="2171">885000</cx:pt>
          <cx:pt idx="2172">885000</cx:pt>
          <cx:pt idx="2173">885000</cx:pt>
          <cx:pt idx="2174">885000</cx:pt>
          <cx:pt idx="2175">885000</cx:pt>
          <cx:pt idx="2176">885000</cx:pt>
          <cx:pt idx="2177">885000</cx:pt>
          <cx:pt idx="2178">885000</cx:pt>
          <cx:pt idx="2179">885000</cx:pt>
          <cx:pt idx="2180">884900</cx:pt>
          <cx:pt idx="2181">884744</cx:pt>
          <cx:pt idx="2182">884250</cx:pt>
          <cx:pt idx="2183">883000</cx:pt>
          <cx:pt idx="2184">883000</cx:pt>
          <cx:pt idx="2185">883000</cx:pt>
          <cx:pt idx="2186">883000</cx:pt>
          <cx:pt idx="2187">882990</cx:pt>
          <cx:pt idx="2188">882566</cx:pt>
          <cx:pt idx="2189">881000</cx:pt>
          <cx:pt idx="2190">880000</cx:pt>
          <cx:pt idx="2191">880000</cx:pt>
          <cx:pt idx="2192">880000</cx:pt>
          <cx:pt idx="2193">880000</cx:pt>
          <cx:pt idx="2194">880000</cx:pt>
          <cx:pt idx="2195">880000</cx:pt>
          <cx:pt idx="2196">880000</cx:pt>
          <cx:pt idx="2197">880000</cx:pt>
          <cx:pt idx="2198">880000</cx:pt>
          <cx:pt idx="2199">880000</cx:pt>
          <cx:pt idx="2200">880000</cx:pt>
          <cx:pt idx="2201">880000</cx:pt>
          <cx:pt idx="2202">880000</cx:pt>
          <cx:pt idx="2203">880000</cx:pt>
          <cx:pt idx="2204">880000</cx:pt>
          <cx:pt idx="2205">880000</cx:pt>
          <cx:pt idx="2206">880000</cx:pt>
          <cx:pt idx="2207">880000</cx:pt>
          <cx:pt idx="2208">880000</cx:pt>
          <cx:pt idx="2209">880000</cx:pt>
          <cx:pt idx="2210">879950</cx:pt>
          <cx:pt idx="2211">879950</cx:pt>
          <cx:pt idx="2212">879950</cx:pt>
          <cx:pt idx="2213">879900</cx:pt>
          <cx:pt idx="2214">879000</cx:pt>
          <cx:pt idx="2215">879000</cx:pt>
          <cx:pt idx="2216">879000</cx:pt>
          <cx:pt idx="2217">879000</cx:pt>
          <cx:pt idx="2218">878000</cx:pt>
          <cx:pt idx="2219">878000</cx:pt>
          <cx:pt idx="2220">877500</cx:pt>
          <cx:pt idx="2221">876650</cx:pt>
          <cx:pt idx="2222">875909</cx:pt>
          <cx:pt idx="2223">875000</cx:pt>
          <cx:pt idx="2224">875000</cx:pt>
          <cx:pt idx="2225">875000</cx:pt>
          <cx:pt idx="2226">875000</cx:pt>
          <cx:pt idx="2227">875000</cx:pt>
          <cx:pt idx="2228">875000</cx:pt>
          <cx:pt idx="2229">875000</cx:pt>
          <cx:pt idx="2230">875000</cx:pt>
          <cx:pt idx="2231">875000</cx:pt>
          <cx:pt idx="2232">875000</cx:pt>
          <cx:pt idx="2233">875000</cx:pt>
          <cx:pt idx="2234">875000</cx:pt>
          <cx:pt idx="2235">875000</cx:pt>
          <cx:pt idx="2236">875000</cx:pt>
          <cx:pt idx="2237">875000</cx:pt>
          <cx:pt idx="2238">875000</cx:pt>
          <cx:pt idx="2239">875000</cx:pt>
          <cx:pt idx="2240">875000</cx:pt>
          <cx:pt idx="2241">875000</cx:pt>
          <cx:pt idx="2242">875000</cx:pt>
          <cx:pt idx="2243">875000</cx:pt>
          <cx:pt idx="2244">875000</cx:pt>
          <cx:pt idx="2245">875000</cx:pt>
          <cx:pt idx="2246">875000</cx:pt>
          <cx:pt idx="2247">875000</cx:pt>
          <cx:pt idx="2248">875000</cx:pt>
          <cx:pt idx="2249">875000</cx:pt>
          <cx:pt idx="2250">875000</cx:pt>
          <cx:pt idx="2251">875000</cx:pt>
          <cx:pt idx="2252">875000</cx:pt>
          <cx:pt idx="2253">875000</cx:pt>
          <cx:pt idx="2254">875000</cx:pt>
          <cx:pt idx="2255">875000</cx:pt>
          <cx:pt idx="2256">875000</cx:pt>
          <cx:pt idx="2257">875000</cx:pt>
          <cx:pt idx="2258">875000</cx:pt>
          <cx:pt idx="2259">875000</cx:pt>
          <cx:pt idx="2260">875000</cx:pt>
          <cx:pt idx="2261">875000</cx:pt>
          <cx:pt idx="2262">874950</cx:pt>
          <cx:pt idx="2263">874150</cx:pt>
          <cx:pt idx="2264">874000</cx:pt>
          <cx:pt idx="2265">874000</cx:pt>
          <cx:pt idx="2266">873000</cx:pt>
          <cx:pt idx="2267">872750</cx:pt>
          <cx:pt idx="2268">872500</cx:pt>
          <cx:pt idx="2269">872500</cx:pt>
          <cx:pt idx="2270">872000</cx:pt>
          <cx:pt idx="2271">872000</cx:pt>
          <cx:pt idx="2272">871000</cx:pt>
          <cx:pt idx="2273">871000</cx:pt>
          <cx:pt idx="2274">870515</cx:pt>
          <cx:pt idx="2275">870300</cx:pt>
          <cx:pt idx="2276">870000</cx:pt>
          <cx:pt idx="2277">870000</cx:pt>
          <cx:pt idx="2278">870000</cx:pt>
          <cx:pt idx="2279">870000</cx:pt>
          <cx:pt idx="2280">870000</cx:pt>
          <cx:pt idx="2281">870000</cx:pt>
          <cx:pt idx="2282">870000</cx:pt>
          <cx:pt idx="2283">870000</cx:pt>
          <cx:pt idx="2284">870000</cx:pt>
          <cx:pt idx="2285">870000</cx:pt>
          <cx:pt idx="2286">870000</cx:pt>
          <cx:pt idx="2287">870000</cx:pt>
          <cx:pt idx="2288">870000</cx:pt>
          <cx:pt idx="2289">870000</cx:pt>
          <cx:pt idx="2290">870000</cx:pt>
          <cx:pt idx="2291">870000</cx:pt>
          <cx:pt idx="2292">870000</cx:pt>
          <cx:pt idx="2293">870000</cx:pt>
          <cx:pt idx="2294">870000</cx:pt>
          <cx:pt idx="2295">870000</cx:pt>
          <cx:pt idx="2296">870000</cx:pt>
          <cx:pt idx="2297">870000</cx:pt>
          <cx:pt idx="2298">870000</cx:pt>
          <cx:pt idx="2299">869950</cx:pt>
          <cx:pt idx="2300">869900</cx:pt>
          <cx:pt idx="2301">869000</cx:pt>
          <cx:pt idx="2302">869000</cx:pt>
          <cx:pt idx="2303">869000</cx:pt>
          <cx:pt idx="2304">868700</cx:pt>
          <cx:pt idx="2305">868500</cx:pt>
          <cx:pt idx="2306">868500</cx:pt>
          <cx:pt idx="2307">868000</cx:pt>
          <cx:pt idx="2308">866800</cx:pt>
          <cx:pt idx="2309">866500</cx:pt>
          <cx:pt idx="2310">866059</cx:pt>
          <cx:pt idx="2311">866000</cx:pt>
          <cx:pt idx="2312">865950</cx:pt>
          <cx:pt idx="2313">865000</cx:pt>
          <cx:pt idx="2314">865000</cx:pt>
          <cx:pt idx="2315">865000</cx:pt>
          <cx:pt idx="2316">865000</cx:pt>
          <cx:pt idx="2317">865000</cx:pt>
          <cx:pt idx="2318">865000</cx:pt>
          <cx:pt idx="2319">865000</cx:pt>
          <cx:pt idx="2320">865000</cx:pt>
          <cx:pt idx="2321">865000</cx:pt>
          <cx:pt idx="2322">865000</cx:pt>
          <cx:pt idx="2323">865000</cx:pt>
          <cx:pt idx="2324">865000</cx:pt>
          <cx:pt idx="2325">865000</cx:pt>
          <cx:pt idx="2326">865000</cx:pt>
          <cx:pt idx="2327">865000</cx:pt>
          <cx:pt idx="2328">865000</cx:pt>
          <cx:pt idx="2329">865000</cx:pt>
          <cx:pt idx="2330">865000</cx:pt>
          <cx:pt idx="2331">865000</cx:pt>
          <cx:pt idx="2332">865000</cx:pt>
          <cx:pt idx="2333">865000</cx:pt>
          <cx:pt idx="2334">865000</cx:pt>
          <cx:pt idx="2335">865000</cx:pt>
          <cx:pt idx="2336">864500</cx:pt>
          <cx:pt idx="2337">864327</cx:pt>
          <cx:pt idx="2338">864000</cx:pt>
          <cx:pt idx="2339">864000</cx:pt>
          <cx:pt idx="2340">864000</cx:pt>
          <cx:pt idx="2341">864000</cx:pt>
          <cx:pt idx="2342">863500</cx:pt>
          <cx:pt idx="2343">863000</cx:pt>
          <cx:pt idx="2344">863000</cx:pt>
          <cx:pt idx="2345">862500</cx:pt>
          <cx:pt idx="2346">862500</cx:pt>
          <cx:pt idx="2347">862000</cx:pt>
          <cx:pt idx="2348">862000</cx:pt>
          <cx:pt idx="2349">861990</cx:pt>
          <cx:pt idx="2350">861111</cx:pt>
          <cx:pt idx="2351">861000</cx:pt>
          <cx:pt idx="2352">860000</cx:pt>
          <cx:pt idx="2353">860000</cx:pt>
          <cx:pt idx="2354">860000</cx:pt>
          <cx:pt idx="2355">860000</cx:pt>
          <cx:pt idx="2356">860000</cx:pt>
          <cx:pt idx="2357">860000</cx:pt>
          <cx:pt idx="2358">860000</cx:pt>
          <cx:pt idx="2359">860000</cx:pt>
          <cx:pt idx="2360">860000</cx:pt>
          <cx:pt idx="2361">860000</cx:pt>
          <cx:pt idx="2362">860000</cx:pt>
          <cx:pt idx="2363">860000</cx:pt>
          <cx:pt idx="2364">860000</cx:pt>
          <cx:pt idx="2365">860000</cx:pt>
          <cx:pt idx="2366">860000</cx:pt>
          <cx:pt idx="2367">860000</cx:pt>
          <cx:pt idx="2368">860000</cx:pt>
          <cx:pt idx="2369">860000</cx:pt>
          <cx:pt idx="2370">860000</cx:pt>
          <cx:pt idx="2371">860000</cx:pt>
          <cx:pt idx="2372">860000</cx:pt>
          <cx:pt idx="2373">860000</cx:pt>
          <cx:pt idx="2374">860000</cx:pt>
          <cx:pt idx="2375">860000</cx:pt>
          <cx:pt idx="2376">860000</cx:pt>
          <cx:pt idx="2377">859990</cx:pt>
          <cx:pt idx="2378">859950</cx:pt>
          <cx:pt idx="2379">859900</cx:pt>
          <cx:pt idx="2380">859000</cx:pt>
          <cx:pt idx="2381">859000</cx:pt>
          <cx:pt idx="2382">858450</cx:pt>
          <cx:pt idx="2383">858450</cx:pt>
          <cx:pt idx="2384">858000</cx:pt>
          <cx:pt idx="2385">858000</cx:pt>
          <cx:pt idx="2386">858000</cx:pt>
          <cx:pt idx="2387">857500</cx:pt>
          <cx:pt idx="2388">857500</cx:pt>
          <cx:pt idx="2389">857326</cx:pt>
          <cx:pt idx="2390">857000</cx:pt>
          <cx:pt idx="2391">856600</cx:pt>
          <cx:pt idx="2392">856500</cx:pt>
          <cx:pt idx="2393">856000</cx:pt>
          <cx:pt idx="2394">856000</cx:pt>
          <cx:pt idx="2395">856000</cx:pt>
          <cx:pt idx="2396">855169</cx:pt>
          <cx:pt idx="2397">855000</cx:pt>
          <cx:pt idx="2398">855000</cx:pt>
          <cx:pt idx="2399">855000</cx:pt>
          <cx:pt idx="2400">855000</cx:pt>
          <cx:pt idx="2401">855000</cx:pt>
          <cx:pt idx="2402">855000</cx:pt>
          <cx:pt idx="2403">855000</cx:pt>
          <cx:pt idx="2404">855000</cx:pt>
          <cx:pt idx="2405">855000</cx:pt>
          <cx:pt idx="2406">855000</cx:pt>
          <cx:pt idx="2407">855000</cx:pt>
          <cx:pt idx="2408">855000</cx:pt>
          <cx:pt idx="2409">855000</cx:pt>
          <cx:pt idx="2410">855000</cx:pt>
          <cx:pt idx="2411">855000</cx:pt>
          <cx:pt idx="2412">855000</cx:pt>
          <cx:pt idx="2413">855000</cx:pt>
          <cx:pt idx="2414">855000</cx:pt>
          <cx:pt idx="2415">854000</cx:pt>
          <cx:pt idx="2416">853800</cx:pt>
          <cx:pt idx="2417">853505</cx:pt>
          <cx:pt idx="2418">853000</cx:pt>
          <cx:pt idx="2419">852880</cx:pt>
          <cx:pt idx="2420">852600</cx:pt>
          <cx:pt idx="2421">852500</cx:pt>
          <cx:pt idx="2422">852500</cx:pt>
          <cx:pt idx="2423">852500</cx:pt>
          <cx:pt idx="2424">852000</cx:pt>
          <cx:pt idx="2425">852000</cx:pt>
          <cx:pt idx="2426">852000</cx:pt>
          <cx:pt idx="2427">852000</cx:pt>
          <cx:pt idx="2428">851500</cx:pt>
          <cx:pt idx="2429">851000</cx:pt>
          <cx:pt idx="2430">851000</cx:pt>
          <cx:pt idx="2431">851000</cx:pt>
          <cx:pt idx="2432">851000</cx:pt>
          <cx:pt idx="2433">850830</cx:pt>
          <cx:pt idx="2434">850000</cx:pt>
          <cx:pt idx="2435">850000</cx:pt>
          <cx:pt idx="2436">850000</cx:pt>
          <cx:pt idx="2437">850000</cx:pt>
          <cx:pt idx="2438">850000</cx:pt>
          <cx:pt idx="2439">850000</cx:pt>
          <cx:pt idx="2440">850000</cx:pt>
          <cx:pt idx="2441">850000</cx:pt>
          <cx:pt idx="2442">850000</cx:pt>
          <cx:pt idx="2443">850000</cx:pt>
          <cx:pt idx="2444">850000</cx:pt>
          <cx:pt idx="2445">850000</cx:pt>
          <cx:pt idx="2446">850000</cx:pt>
          <cx:pt idx="2447">850000</cx:pt>
          <cx:pt idx="2448">850000</cx:pt>
          <cx:pt idx="2449">850000</cx:pt>
          <cx:pt idx="2450">850000</cx:pt>
          <cx:pt idx="2451">850000</cx:pt>
          <cx:pt idx="2452">850000</cx:pt>
          <cx:pt idx="2453">850000</cx:pt>
          <cx:pt idx="2454">850000</cx:pt>
          <cx:pt idx="2455">850000</cx:pt>
          <cx:pt idx="2456">850000</cx:pt>
          <cx:pt idx="2457">850000</cx:pt>
          <cx:pt idx="2458">850000</cx:pt>
          <cx:pt idx="2459">850000</cx:pt>
          <cx:pt idx="2460">850000</cx:pt>
          <cx:pt idx="2461">850000</cx:pt>
          <cx:pt idx="2462">850000</cx:pt>
          <cx:pt idx="2463">850000</cx:pt>
          <cx:pt idx="2464">850000</cx:pt>
          <cx:pt idx="2465">850000</cx:pt>
          <cx:pt idx="2466">850000</cx:pt>
          <cx:pt idx="2467">850000</cx:pt>
          <cx:pt idx="2468">850000</cx:pt>
          <cx:pt idx="2469">850000</cx:pt>
          <cx:pt idx="2470">850000</cx:pt>
          <cx:pt idx="2471">850000</cx:pt>
          <cx:pt idx="2472">850000</cx:pt>
          <cx:pt idx="2473">850000</cx:pt>
          <cx:pt idx="2474">850000</cx:pt>
          <cx:pt idx="2475">850000</cx:pt>
          <cx:pt idx="2476">850000</cx:pt>
          <cx:pt idx="2477">850000</cx:pt>
          <cx:pt idx="2478">850000</cx:pt>
          <cx:pt idx="2479">850000</cx:pt>
          <cx:pt idx="2480">850000</cx:pt>
          <cx:pt idx="2481">850000</cx:pt>
          <cx:pt idx="2482">850000</cx:pt>
          <cx:pt idx="2483">850000</cx:pt>
          <cx:pt idx="2484">850000</cx:pt>
          <cx:pt idx="2485">850000</cx:pt>
          <cx:pt idx="2486">850000</cx:pt>
          <cx:pt idx="2487">850000</cx:pt>
          <cx:pt idx="2488">850000</cx:pt>
          <cx:pt idx="2489">850000</cx:pt>
          <cx:pt idx="2490">850000</cx:pt>
          <cx:pt idx="2491">850000</cx:pt>
          <cx:pt idx="2492">850000</cx:pt>
          <cx:pt idx="2493">850000</cx:pt>
          <cx:pt idx="2494">850000</cx:pt>
          <cx:pt idx="2495">850000</cx:pt>
          <cx:pt idx="2496">850000</cx:pt>
          <cx:pt idx="2497">850000</cx:pt>
          <cx:pt idx="2498">849990</cx:pt>
          <cx:pt idx="2499">849950</cx:pt>
          <cx:pt idx="2500">849900</cx:pt>
          <cx:pt idx="2501">849000</cx:pt>
          <cx:pt idx="2502">849000</cx:pt>
          <cx:pt idx="2503">849000</cx:pt>
          <cx:pt idx="2504">849000</cx:pt>
          <cx:pt idx="2505">849000</cx:pt>
          <cx:pt idx="2506">849000</cx:pt>
          <cx:pt idx="2507">848750</cx:pt>
          <cx:pt idx="2508">848000</cx:pt>
          <cx:pt idx="2509">848000</cx:pt>
          <cx:pt idx="2510">848000</cx:pt>
          <cx:pt idx="2511">847700</cx:pt>
          <cx:pt idx="2512">847093</cx:pt>
          <cx:pt idx="2513">847000</cx:pt>
          <cx:pt idx="2514">847000</cx:pt>
          <cx:pt idx="2515">846450</cx:pt>
          <cx:pt idx="2516">846000</cx:pt>
          <cx:pt idx="2517">845950</cx:pt>
          <cx:pt idx="2518">845800</cx:pt>
          <cx:pt idx="2519">845000</cx:pt>
          <cx:pt idx="2520">845000</cx:pt>
          <cx:pt idx="2521">845000</cx:pt>
          <cx:pt idx="2522">845000</cx:pt>
          <cx:pt idx="2523">845000</cx:pt>
          <cx:pt idx="2524">845000</cx:pt>
          <cx:pt idx="2525">845000</cx:pt>
          <cx:pt idx="2526">845000</cx:pt>
          <cx:pt idx="2527">845000</cx:pt>
          <cx:pt idx="2528">845000</cx:pt>
          <cx:pt idx="2529">845000</cx:pt>
          <cx:pt idx="2530">845000</cx:pt>
          <cx:pt idx="2531">845000</cx:pt>
          <cx:pt idx="2532">845000</cx:pt>
          <cx:pt idx="2533">844000</cx:pt>
          <cx:pt idx="2534">844000</cx:pt>
          <cx:pt idx="2535">843500</cx:pt>
          <cx:pt idx="2536">843500</cx:pt>
          <cx:pt idx="2537">843000</cx:pt>
          <cx:pt idx="2538">842500</cx:pt>
          <cx:pt idx="2539">842500</cx:pt>
          <cx:pt idx="2540">842500</cx:pt>
          <cx:pt idx="2541">842000</cx:pt>
          <cx:pt idx="2542">842000</cx:pt>
          <cx:pt idx="2543">841000</cx:pt>
          <cx:pt idx="2544">840500</cx:pt>
          <cx:pt idx="2545">840500</cx:pt>
          <cx:pt idx="2546">840000</cx:pt>
          <cx:pt idx="2547">840000</cx:pt>
          <cx:pt idx="2548">840000</cx:pt>
          <cx:pt idx="2549">840000</cx:pt>
          <cx:pt idx="2550">840000</cx:pt>
          <cx:pt idx="2551">840000</cx:pt>
          <cx:pt idx="2552">840000</cx:pt>
          <cx:pt idx="2553">840000</cx:pt>
          <cx:pt idx="2554">840000</cx:pt>
          <cx:pt idx="2555">840000</cx:pt>
          <cx:pt idx="2556">840000</cx:pt>
          <cx:pt idx="2557">840000</cx:pt>
          <cx:pt idx="2558">840000</cx:pt>
          <cx:pt idx="2559">840000</cx:pt>
          <cx:pt idx="2560">840000</cx:pt>
          <cx:pt idx="2561">840000</cx:pt>
          <cx:pt idx="2562">840000</cx:pt>
          <cx:pt idx="2563">840000</cx:pt>
          <cx:pt idx="2564">840000</cx:pt>
          <cx:pt idx="2565">840000</cx:pt>
          <cx:pt idx="2566">840000</cx:pt>
          <cx:pt idx="2567">840000</cx:pt>
          <cx:pt idx="2568">840000</cx:pt>
          <cx:pt idx="2569">840000</cx:pt>
          <cx:pt idx="2570">840000</cx:pt>
          <cx:pt idx="2571">840000</cx:pt>
          <cx:pt idx="2572">840000</cx:pt>
          <cx:pt idx="2573">840000</cx:pt>
          <cx:pt idx="2574">840000</cx:pt>
          <cx:pt idx="2575">840000</cx:pt>
          <cx:pt idx="2576">839990</cx:pt>
          <cx:pt idx="2577">839950</cx:pt>
          <cx:pt idx="2578">839900</cx:pt>
          <cx:pt idx="2579">839900</cx:pt>
          <cx:pt idx="2580">839704</cx:pt>
          <cx:pt idx="2581">839000</cx:pt>
          <cx:pt idx="2582">839000</cx:pt>
          <cx:pt idx="2583">839000</cx:pt>
          <cx:pt idx="2584">839000</cx:pt>
          <cx:pt idx="2585">838400</cx:pt>
          <cx:pt idx="2586">838300</cx:pt>
          <cx:pt idx="2587">838000</cx:pt>
          <cx:pt idx="2588">838000</cx:pt>
          <cx:pt idx="2589">838000</cx:pt>
          <cx:pt idx="2590">837700</cx:pt>
          <cx:pt idx="2591">837500</cx:pt>
          <cx:pt idx="2592">837219</cx:pt>
          <cx:pt idx="2593">837000</cx:pt>
          <cx:pt idx="2594">836500</cx:pt>
          <cx:pt idx="2595">836000</cx:pt>
          <cx:pt idx="2596">835100</cx:pt>
          <cx:pt idx="2597">835000</cx:pt>
          <cx:pt idx="2598">835000</cx:pt>
          <cx:pt idx="2599">835000</cx:pt>
          <cx:pt idx="2600">835000</cx:pt>
          <cx:pt idx="2601">835000</cx:pt>
          <cx:pt idx="2602">835000</cx:pt>
          <cx:pt idx="2603">835000</cx:pt>
          <cx:pt idx="2604">835000</cx:pt>
          <cx:pt idx="2605">835000</cx:pt>
          <cx:pt idx="2606">835000</cx:pt>
          <cx:pt idx="2607">835000</cx:pt>
          <cx:pt idx="2608">835000</cx:pt>
          <cx:pt idx="2609">835000</cx:pt>
          <cx:pt idx="2610">835000</cx:pt>
          <cx:pt idx="2611">835000</cx:pt>
          <cx:pt idx="2612">835000</cx:pt>
          <cx:pt idx="2613">835000</cx:pt>
          <cx:pt idx="2614">835000</cx:pt>
          <cx:pt idx="2615">835000</cx:pt>
          <cx:pt idx="2616">835000</cx:pt>
          <cx:pt idx="2617">835000</cx:pt>
          <cx:pt idx="2618">835000</cx:pt>
          <cx:pt idx="2619">835000</cx:pt>
          <cx:pt idx="2620">835000</cx:pt>
          <cx:pt idx="2621">834995</cx:pt>
          <cx:pt idx="2622">834950</cx:pt>
          <cx:pt idx="2623">834950</cx:pt>
          <cx:pt idx="2624">834800</cx:pt>
          <cx:pt idx="2625">834538</cx:pt>
          <cx:pt idx="2626">834500</cx:pt>
          <cx:pt idx="2627">834000</cx:pt>
          <cx:pt idx="2628">834000</cx:pt>
          <cx:pt idx="2629">833450</cx:pt>
          <cx:pt idx="2630">833000</cx:pt>
          <cx:pt idx="2631">833000</cx:pt>
          <cx:pt idx="2632">833000</cx:pt>
          <cx:pt idx="2633">833000</cx:pt>
          <cx:pt idx="2634">832600</cx:pt>
          <cx:pt idx="2635">832500</cx:pt>
          <cx:pt idx="2636">832500</cx:pt>
          <cx:pt idx="2637">832500</cx:pt>
          <cx:pt idx="2638">832000</cx:pt>
          <cx:pt idx="2639">831548</cx:pt>
          <cx:pt idx="2640">831500</cx:pt>
          <cx:pt idx="2641">831000</cx:pt>
          <cx:pt idx="2642">831000</cx:pt>
          <cx:pt idx="2643">831000</cx:pt>
          <cx:pt idx="2644">830200</cx:pt>
          <cx:pt idx="2645">830005</cx:pt>
          <cx:pt idx="2646">830000</cx:pt>
          <cx:pt idx="2647">830000</cx:pt>
          <cx:pt idx="2648">830000</cx:pt>
          <cx:pt idx="2649">830000</cx:pt>
          <cx:pt idx="2650">830000</cx:pt>
          <cx:pt idx="2651">830000</cx:pt>
          <cx:pt idx="2652">830000</cx:pt>
          <cx:pt idx="2653">830000</cx:pt>
          <cx:pt idx="2654">830000</cx:pt>
          <cx:pt idx="2655">830000</cx:pt>
          <cx:pt idx="2656">830000</cx:pt>
          <cx:pt idx="2657">830000</cx:pt>
          <cx:pt idx="2658">830000</cx:pt>
          <cx:pt idx="2659">830000</cx:pt>
          <cx:pt idx="2660">830000</cx:pt>
          <cx:pt idx="2661">830000</cx:pt>
          <cx:pt idx="2662">830000</cx:pt>
          <cx:pt idx="2663">830000</cx:pt>
          <cx:pt idx="2664">830000</cx:pt>
          <cx:pt idx="2665">830000</cx:pt>
          <cx:pt idx="2666">830000</cx:pt>
          <cx:pt idx="2667">830000</cx:pt>
          <cx:pt idx="2668">830000</cx:pt>
          <cx:pt idx="2669">830000</cx:pt>
          <cx:pt idx="2670">829995</cx:pt>
          <cx:pt idx="2671">829950</cx:pt>
          <cx:pt idx="2672">829900</cx:pt>
          <cx:pt idx="2673">829000</cx:pt>
          <cx:pt idx="2674">829000</cx:pt>
          <cx:pt idx="2675">829000</cx:pt>
          <cx:pt idx="2676">828950</cx:pt>
          <cx:pt idx="2677">828500</cx:pt>
          <cx:pt idx="2678">828200</cx:pt>
          <cx:pt idx="2679">828000</cx:pt>
          <cx:pt idx="2680">828000</cx:pt>
          <cx:pt idx="2681">827500</cx:pt>
          <cx:pt idx="2682">827500</cx:pt>
          <cx:pt idx="2683">827235</cx:pt>
          <cx:pt idx="2684">827000</cx:pt>
          <cx:pt idx="2685">827000</cx:pt>
          <cx:pt idx="2686">826600</cx:pt>
          <cx:pt idx="2687">826000</cx:pt>
          <cx:pt idx="2688">826000</cx:pt>
          <cx:pt idx="2689">826000</cx:pt>
          <cx:pt idx="2690">826000</cx:pt>
          <cx:pt idx="2691">825750</cx:pt>
          <cx:pt idx="2692">825500</cx:pt>
          <cx:pt idx="2693">825050</cx:pt>
          <cx:pt idx="2694">825000</cx:pt>
          <cx:pt idx="2695">825000</cx:pt>
          <cx:pt idx="2696">825000</cx:pt>
          <cx:pt idx="2697">825000</cx:pt>
          <cx:pt idx="2698">825000</cx:pt>
          <cx:pt idx="2699">825000</cx:pt>
          <cx:pt idx="2700">825000</cx:pt>
          <cx:pt idx="2701">825000</cx:pt>
          <cx:pt idx="2702">825000</cx:pt>
          <cx:pt idx="2703">825000</cx:pt>
          <cx:pt idx="2704">825000</cx:pt>
          <cx:pt idx="2705">825000</cx:pt>
          <cx:pt idx="2706">825000</cx:pt>
          <cx:pt idx="2707">825000</cx:pt>
          <cx:pt idx="2708">825000</cx:pt>
          <cx:pt idx="2709">825000</cx:pt>
          <cx:pt idx="2710">825000</cx:pt>
          <cx:pt idx="2711">825000</cx:pt>
          <cx:pt idx="2712">825000</cx:pt>
          <cx:pt idx="2713">825000</cx:pt>
          <cx:pt idx="2714">825000</cx:pt>
          <cx:pt idx="2715">825000</cx:pt>
          <cx:pt idx="2716">825000</cx:pt>
          <cx:pt idx="2717">825000</cx:pt>
          <cx:pt idx="2718">825000</cx:pt>
          <cx:pt idx="2719">825000</cx:pt>
          <cx:pt idx="2720">825000</cx:pt>
          <cx:pt idx="2721">825000</cx:pt>
          <cx:pt idx="2722">825000</cx:pt>
          <cx:pt idx="2723">825000</cx:pt>
          <cx:pt idx="2724">825000</cx:pt>
          <cx:pt idx="2725">825000</cx:pt>
          <cx:pt idx="2726">825000</cx:pt>
          <cx:pt idx="2727">825000</cx:pt>
          <cx:pt idx="2728">825000</cx:pt>
          <cx:pt idx="2729">825000</cx:pt>
          <cx:pt idx="2730">825000</cx:pt>
          <cx:pt idx="2731">825000</cx:pt>
          <cx:pt idx="2732">825000</cx:pt>
          <cx:pt idx="2733">825000</cx:pt>
          <cx:pt idx="2734">825000</cx:pt>
          <cx:pt idx="2735">825000</cx:pt>
          <cx:pt idx="2736">825000</cx:pt>
          <cx:pt idx="2737">824500</cx:pt>
          <cx:pt idx="2738">824000</cx:pt>
          <cx:pt idx="2739">824000</cx:pt>
          <cx:pt idx="2740">824000</cx:pt>
          <cx:pt idx="2741">824000</cx:pt>
          <cx:pt idx="2742">824000</cx:pt>
          <cx:pt idx="2743">823000</cx:pt>
          <cx:pt idx="2744">823000</cx:pt>
          <cx:pt idx="2745">823000</cx:pt>
          <cx:pt idx="2746">822600</cx:pt>
          <cx:pt idx="2747">822500</cx:pt>
          <cx:pt idx="2748">822500</cx:pt>
          <cx:pt idx="2749">822500</cx:pt>
          <cx:pt idx="2750">822000</cx:pt>
          <cx:pt idx="2751">822000</cx:pt>
          <cx:pt idx="2752">822000</cx:pt>
          <cx:pt idx="2753">821000</cx:pt>
          <cx:pt idx="2754">820875</cx:pt>
          <cx:pt idx="2755">820000</cx:pt>
          <cx:pt idx="2756">820000</cx:pt>
          <cx:pt idx="2757">820000</cx:pt>
          <cx:pt idx="2758">820000</cx:pt>
          <cx:pt idx="2759">820000</cx:pt>
          <cx:pt idx="2760">820000</cx:pt>
          <cx:pt idx="2761">820000</cx:pt>
          <cx:pt idx="2762">820000</cx:pt>
          <cx:pt idx="2763">820000</cx:pt>
          <cx:pt idx="2764">820000</cx:pt>
          <cx:pt idx="2765">820000</cx:pt>
          <cx:pt idx="2766">820000</cx:pt>
          <cx:pt idx="2767">820000</cx:pt>
          <cx:pt idx="2768">820000</cx:pt>
          <cx:pt idx="2769">820000</cx:pt>
          <cx:pt idx="2770">820000</cx:pt>
          <cx:pt idx="2771">820000</cx:pt>
          <cx:pt idx="2772">820000</cx:pt>
          <cx:pt idx="2773">820000</cx:pt>
          <cx:pt idx="2774">820000</cx:pt>
          <cx:pt idx="2775">820000</cx:pt>
          <cx:pt idx="2776">820000</cx:pt>
          <cx:pt idx="2777">820000</cx:pt>
          <cx:pt idx="2778">819995</cx:pt>
          <cx:pt idx="2779">819900</cx:pt>
          <cx:pt idx="2780">819000</cx:pt>
          <cx:pt idx="2781">819000</cx:pt>
          <cx:pt idx="2782">819000</cx:pt>
          <cx:pt idx="2783">819000</cx:pt>
          <cx:pt idx="2784">819000</cx:pt>
          <cx:pt idx="2785">818900</cx:pt>
          <cx:pt idx="2786">818500</cx:pt>
          <cx:pt idx="2787">818000</cx:pt>
          <cx:pt idx="2788">818000</cx:pt>
          <cx:pt idx="2789">818000</cx:pt>
          <cx:pt idx="2790">818000</cx:pt>
          <cx:pt idx="2791">817500</cx:pt>
          <cx:pt idx="2792">817500</cx:pt>
          <cx:pt idx="2793">817500</cx:pt>
          <cx:pt idx="2794">817250</cx:pt>
          <cx:pt idx="2795">817000</cx:pt>
          <cx:pt idx="2796">817000</cx:pt>
          <cx:pt idx="2797">816000</cx:pt>
          <cx:pt idx="2798">815241</cx:pt>
          <cx:pt idx="2799">815000</cx:pt>
          <cx:pt idx="2800">815000</cx:pt>
          <cx:pt idx="2801">815000</cx:pt>
          <cx:pt idx="2802">815000</cx:pt>
          <cx:pt idx="2803">815000</cx:pt>
          <cx:pt idx="2804">815000</cx:pt>
          <cx:pt idx="2805">815000</cx:pt>
          <cx:pt idx="2806">815000</cx:pt>
          <cx:pt idx="2807">815000</cx:pt>
          <cx:pt idx="2808">815000</cx:pt>
          <cx:pt idx="2809">815000</cx:pt>
          <cx:pt idx="2810">815000</cx:pt>
          <cx:pt idx="2811">815000</cx:pt>
          <cx:pt idx="2812">815000</cx:pt>
          <cx:pt idx="2813">815000</cx:pt>
          <cx:pt idx="2814">815000</cx:pt>
          <cx:pt idx="2815">815000</cx:pt>
          <cx:pt idx="2816">815000</cx:pt>
          <cx:pt idx="2817">815000</cx:pt>
          <cx:pt idx="2818">815000</cx:pt>
          <cx:pt idx="2819">815000</cx:pt>
          <cx:pt idx="2820">815000</cx:pt>
          <cx:pt idx="2821">815000</cx:pt>
          <cx:pt idx="2822">815000</cx:pt>
          <cx:pt idx="2823">814950</cx:pt>
          <cx:pt idx="2824">814842</cx:pt>
          <cx:pt idx="2825">814000</cx:pt>
          <cx:pt idx="2826">813500</cx:pt>
          <cx:pt idx="2827">813000</cx:pt>
          <cx:pt idx="2828">813000</cx:pt>
          <cx:pt idx="2829">813000</cx:pt>
          <cx:pt idx="2830">813000</cx:pt>
          <cx:pt idx="2831">812500</cx:pt>
          <cx:pt idx="2832">812500</cx:pt>
          <cx:pt idx="2833">812000</cx:pt>
          <cx:pt idx="2834">812000</cx:pt>
          <cx:pt idx="2835">812000</cx:pt>
          <cx:pt idx="2836">812000</cx:pt>
          <cx:pt idx="2837">812000</cx:pt>
          <cx:pt idx="2838">812000</cx:pt>
          <cx:pt idx="2839">811500</cx:pt>
          <cx:pt idx="2840">811000</cx:pt>
          <cx:pt idx="2841">811000</cx:pt>
          <cx:pt idx="2842">811000</cx:pt>
          <cx:pt idx="2843">810000</cx:pt>
          <cx:pt idx="2844">810000</cx:pt>
          <cx:pt idx="2845">810000</cx:pt>
          <cx:pt idx="2846">810000</cx:pt>
          <cx:pt idx="2847">810000</cx:pt>
          <cx:pt idx="2848">810000</cx:pt>
          <cx:pt idx="2849">810000</cx:pt>
          <cx:pt idx="2850">810000</cx:pt>
          <cx:pt idx="2851">810000</cx:pt>
          <cx:pt idx="2852">810000</cx:pt>
          <cx:pt idx="2853">810000</cx:pt>
          <cx:pt idx="2854">810000</cx:pt>
          <cx:pt idx="2855">810000</cx:pt>
          <cx:pt idx="2856">810000</cx:pt>
          <cx:pt idx="2857">810000</cx:pt>
          <cx:pt idx="2858">810000</cx:pt>
          <cx:pt idx="2859">810000</cx:pt>
          <cx:pt idx="2860">810000</cx:pt>
          <cx:pt idx="2861">810000</cx:pt>
          <cx:pt idx="2862">810000</cx:pt>
          <cx:pt idx="2863">810000</cx:pt>
          <cx:pt idx="2864">810000</cx:pt>
          <cx:pt idx="2865">810000</cx:pt>
          <cx:pt idx="2866">810000</cx:pt>
          <cx:pt idx="2867">810000</cx:pt>
          <cx:pt idx="2868">810000</cx:pt>
          <cx:pt idx="2869">810000</cx:pt>
          <cx:pt idx="2870">810000</cx:pt>
          <cx:pt idx="2871">810000</cx:pt>
          <cx:pt idx="2872">810000</cx:pt>
          <cx:pt idx="2873">810000</cx:pt>
          <cx:pt idx="2874">810000</cx:pt>
          <cx:pt idx="2875">810000</cx:pt>
          <cx:pt idx="2876">810000</cx:pt>
          <cx:pt idx="2877">810000</cx:pt>
          <cx:pt idx="2878">809950</cx:pt>
          <cx:pt idx="2879">809950</cx:pt>
          <cx:pt idx="2880">809950</cx:pt>
          <cx:pt idx="2881">809000</cx:pt>
          <cx:pt idx="2882">809000</cx:pt>
          <cx:pt idx="2883">809000</cx:pt>
          <cx:pt idx="2884">809000</cx:pt>
          <cx:pt idx="2885">808900</cx:pt>
          <cx:pt idx="2886">808250</cx:pt>
          <cx:pt idx="2887">808100</cx:pt>
          <cx:pt idx="2888">808000</cx:pt>
          <cx:pt idx="2889">808000</cx:pt>
          <cx:pt idx="2890">808000</cx:pt>
          <cx:pt idx="2891">808000</cx:pt>
          <cx:pt idx="2892">808000</cx:pt>
          <cx:pt idx="2893">808000</cx:pt>
          <cx:pt idx="2894">808000</cx:pt>
          <cx:pt idx="2895">807500</cx:pt>
          <cx:pt idx="2896">807100</cx:pt>
          <cx:pt idx="2897">807000</cx:pt>
          <cx:pt idx="2898">806000</cx:pt>
          <cx:pt idx="2899">806000</cx:pt>
          <cx:pt idx="2900">805500</cx:pt>
          <cx:pt idx="2901">805000</cx:pt>
          <cx:pt idx="2902">805000</cx:pt>
          <cx:pt idx="2903">805000</cx:pt>
          <cx:pt idx="2904">805000</cx:pt>
          <cx:pt idx="2905">805000</cx:pt>
          <cx:pt idx="2906">805000</cx:pt>
          <cx:pt idx="2907">805000</cx:pt>
          <cx:pt idx="2908">805000</cx:pt>
          <cx:pt idx="2909">805000</cx:pt>
          <cx:pt idx="2910">805000</cx:pt>
          <cx:pt idx="2911">805000</cx:pt>
          <cx:pt idx="2912">805000</cx:pt>
          <cx:pt idx="2913">805000</cx:pt>
          <cx:pt idx="2914">805000</cx:pt>
          <cx:pt idx="2915">805000</cx:pt>
          <cx:pt idx="2916">805000</cx:pt>
          <cx:pt idx="2917">805000</cx:pt>
          <cx:pt idx="2918">805000</cx:pt>
          <cx:pt idx="2919">805000</cx:pt>
          <cx:pt idx="2920">805000</cx:pt>
          <cx:pt idx="2921">805000</cx:pt>
          <cx:pt idx="2922">805000</cx:pt>
          <cx:pt idx="2923">805000</cx:pt>
          <cx:pt idx="2924">804995</cx:pt>
          <cx:pt idx="2925">804100</cx:pt>
          <cx:pt idx="2926">804000</cx:pt>
          <cx:pt idx="2927">804000</cx:pt>
          <cx:pt idx="2928">803100</cx:pt>
          <cx:pt idx="2929">803000</cx:pt>
          <cx:pt idx="2930">803000</cx:pt>
          <cx:pt idx="2931">802945</cx:pt>
          <cx:pt idx="2932">802541</cx:pt>
          <cx:pt idx="2933">802500</cx:pt>
          <cx:pt idx="2934">802500</cx:pt>
          <cx:pt idx="2935">802000</cx:pt>
          <cx:pt idx="2936">802000</cx:pt>
          <cx:pt idx="2937">802000</cx:pt>
          <cx:pt idx="2938">802000</cx:pt>
          <cx:pt idx="2939">802000</cx:pt>
          <cx:pt idx="2940">802000</cx:pt>
          <cx:pt idx="2941">801501</cx:pt>
          <cx:pt idx="2942">801000</cx:pt>
          <cx:pt idx="2943">800866</cx:pt>
          <cx:pt idx="2944">800500</cx:pt>
          <cx:pt idx="2945">800000</cx:pt>
          <cx:pt idx="2946">800000</cx:pt>
          <cx:pt idx="2947">800000</cx:pt>
          <cx:pt idx="2948">800000</cx:pt>
          <cx:pt idx="2949">800000</cx:pt>
          <cx:pt idx="2950">800000</cx:pt>
          <cx:pt idx="2951">800000</cx:pt>
          <cx:pt idx="2952">800000</cx:pt>
          <cx:pt idx="2953">800000</cx:pt>
          <cx:pt idx="2954">800000</cx:pt>
          <cx:pt idx="2955">800000</cx:pt>
          <cx:pt idx="2956">800000</cx:pt>
          <cx:pt idx="2957">800000</cx:pt>
          <cx:pt idx="2958">800000</cx:pt>
          <cx:pt idx="2959">800000</cx:pt>
          <cx:pt idx="2960">800000</cx:pt>
          <cx:pt idx="2961">800000</cx:pt>
          <cx:pt idx="2962">800000</cx:pt>
          <cx:pt idx="2963">800000</cx:pt>
          <cx:pt idx="2964">800000</cx:pt>
          <cx:pt idx="2965">800000</cx:pt>
          <cx:pt idx="2966">800000</cx:pt>
          <cx:pt idx="2967">800000</cx:pt>
          <cx:pt idx="2968">800000</cx:pt>
          <cx:pt idx="2969">800000</cx:pt>
          <cx:pt idx="2970">800000</cx:pt>
          <cx:pt idx="2971">800000</cx:pt>
          <cx:pt idx="2972">800000</cx:pt>
          <cx:pt idx="2973">800000</cx:pt>
          <cx:pt idx="2974">800000</cx:pt>
          <cx:pt idx="2975">800000</cx:pt>
          <cx:pt idx="2976">800000</cx:pt>
          <cx:pt idx="2977">800000</cx:pt>
          <cx:pt idx="2978">800000</cx:pt>
          <cx:pt idx="2979">800000</cx:pt>
          <cx:pt idx="2980">800000</cx:pt>
          <cx:pt idx="2981">800000</cx:pt>
          <cx:pt idx="2982">800000</cx:pt>
          <cx:pt idx="2983">800000</cx:pt>
          <cx:pt idx="2984">800000</cx:pt>
          <cx:pt idx="2985">800000</cx:pt>
          <cx:pt idx="2986">800000</cx:pt>
          <cx:pt idx="2987">800000</cx:pt>
          <cx:pt idx="2988">800000</cx:pt>
          <cx:pt idx="2989">800000</cx:pt>
          <cx:pt idx="2990">800000</cx:pt>
          <cx:pt idx="2991">800000</cx:pt>
          <cx:pt idx="2992">800000</cx:pt>
          <cx:pt idx="2993">800000</cx:pt>
          <cx:pt idx="2994">800000</cx:pt>
          <cx:pt idx="2995">800000</cx:pt>
          <cx:pt idx="2996">800000</cx:pt>
          <cx:pt idx="2997">800000</cx:pt>
          <cx:pt idx="2998">800000</cx:pt>
          <cx:pt idx="2999">800000</cx:pt>
          <cx:pt idx="3000">800000</cx:pt>
          <cx:pt idx="3001">800000</cx:pt>
          <cx:pt idx="3002">799990</cx:pt>
          <cx:pt idx="3003">799990</cx:pt>
          <cx:pt idx="3004">799990</cx:pt>
          <cx:pt idx="3005">799950</cx:pt>
          <cx:pt idx="3006">799950</cx:pt>
          <cx:pt idx="3007">799950</cx:pt>
          <cx:pt idx="3008">799950</cx:pt>
          <cx:pt idx="3009">799950</cx:pt>
          <cx:pt idx="3010">799950</cx:pt>
          <cx:pt idx="3011">799950</cx:pt>
          <cx:pt idx="3012">799900</cx:pt>
          <cx:pt idx="3013">799900</cx:pt>
          <cx:pt idx="3014">799500</cx:pt>
          <cx:pt idx="3015">799200</cx:pt>
          <cx:pt idx="3016">799000</cx:pt>
          <cx:pt idx="3017">799000</cx:pt>
          <cx:pt idx="3018">799000</cx:pt>
          <cx:pt idx="3019">799000</cx:pt>
          <cx:pt idx="3020">799000</cx:pt>
          <cx:pt idx="3021">799000</cx:pt>
          <cx:pt idx="3022">799000</cx:pt>
          <cx:pt idx="3023">799000</cx:pt>
          <cx:pt idx="3024">799000</cx:pt>
          <cx:pt idx="3025">799000</cx:pt>
          <cx:pt idx="3026">799000</cx:pt>
          <cx:pt idx="3027">799000</cx:pt>
          <cx:pt idx="3028">799000</cx:pt>
          <cx:pt idx="3029">799000</cx:pt>
          <cx:pt idx="3030">799000</cx:pt>
          <cx:pt idx="3031">799000</cx:pt>
          <cx:pt idx="3032">799000</cx:pt>
          <cx:pt idx="3033">798800</cx:pt>
          <cx:pt idx="3034">798750</cx:pt>
          <cx:pt idx="3035">798500</cx:pt>
          <cx:pt idx="3036">798000</cx:pt>
          <cx:pt idx="3037">798000</cx:pt>
          <cx:pt idx="3038">798000</cx:pt>
          <cx:pt idx="3039">798000</cx:pt>
          <cx:pt idx="3040">797500</cx:pt>
          <cx:pt idx="3041">797000</cx:pt>
          <cx:pt idx="3042">797000</cx:pt>
          <cx:pt idx="3043">797000</cx:pt>
          <cx:pt idx="3044">796500</cx:pt>
          <cx:pt idx="3045">796000</cx:pt>
          <cx:pt idx="3046">796000</cx:pt>
          <cx:pt idx="3047">796000</cx:pt>
          <cx:pt idx="3048">795127</cx:pt>
          <cx:pt idx="3049">795000</cx:pt>
          <cx:pt idx="3050">795000</cx:pt>
          <cx:pt idx="3051">795000</cx:pt>
          <cx:pt idx="3052">795000</cx:pt>
          <cx:pt idx="3053">795000</cx:pt>
          <cx:pt idx="3054">795000</cx:pt>
          <cx:pt idx="3055">795000</cx:pt>
          <cx:pt idx="3056">795000</cx:pt>
          <cx:pt idx="3057">795000</cx:pt>
          <cx:pt idx="3058">795000</cx:pt>
          <cx:pt idx="3059">795000</cx:pt>
          <cx:pt idx="3060">795000</cx:pt>
          <cx:pt idx="3061">795000</cx:pt>
          <cx:pt idx="3062">795000</cx:pt>
          <cx:pt idx="3063">795000</cx:pt>
          <cx:pt idx="3064">795000</cx:pt>
          <cx:pt idx="3065">795000</cx:pt>
          <cx:pt idx="3066">795000</cx:pt>
          <cx:pt idx="3067">795000</cx:pt>
          <cx:pt idx="3068">795000</cx:pt>
          <cx:pt idx="3069">795000</cx:pt>
          <cx:pt idx="3070">795000</cx:pt>
          <cx:pt idx="3071">795000</cx:pt>
          <cx:pt idx="3072">794500</cx:pt>
          <cx:pt idx="3073">794154</cx:pt>
          <cx:pt idx="3074">793000</cx:pt>
          <cx:pt idx="3075">792500</cx:pt>
          <cx:pt idx="3076">792500</cx:pt>
          <cx:pt idx="3077">792000</cx:pt>
          <cx:pt idx="3078">792000</cx:pt>
          <cx:pt idx="3079">792000</cx:pt>
          <cx:pt idx="3080">792000</cx:pt>
          <cx:pt idx="3081">791500</cx:pt>
          <cx:pt idx="3082">791500</cx:pt>
          <cx:pt idx="3083">791000</cx:pt>
          <cx:pt idx="3084">791000</cx:pt>
          <cx:pt idx="3085">790500</cx:pt>
          <cx:pt idx="3086">790100</cx:pt>
          <cx:pt idx="3087">790000</cx:pt>
          <cx:pt idx="3088">790000</cx:pt>
          <cx:pt idx="3089">790000</cx:pt>
          <cx:pt idx="3090">790000</cx:pt>
          <cx:pt idx="3091">790000</cx:pt>
          <cx:pt idx="3092">790000</cx:pt>
          <cx:pt idx="3093">790000</cx:pt>
          <cx:pt idx="3094">790000</cx:pt>
          <cx:pt idx="3095">790000</cx:pt>
          <cx:pt idx="3096">790000</cx:pt>
          <cx:pt idx="3097">790000</cx:pt>
          <cx:pt idx="3098">790000</cx:pt>
          <cx:pt idx="3099">790000</cx:pt>
          <cx:pt idx="3100">790000</cx:pt>
          <cx:pt idx="3101">790000</cx:pt>
          <cx:pt idx="3102">790000</cx:pt>
          <cx:pt idx="3103">790000</cx:pt>
          <cx:pt idx="3104">790000</cx:pt>
          <cx:pt idx="3105">790000</cx:pt>
          <cx:pt idx="3106">790000</cx:pt>
          <cx:pt idx="3107">790000</cx:pt>
          <cx:pt idx="3108">790000</cx:pt>
          <cx:pt idx="3109">790000</cx:pt>
          <cx:pt idx="3110">790000</cx:pt>
          <cx:pt idx="3111">790000</cx:pt>
          <cx:pt idx="3112">790000</cx:pt>
          <cx:pt idx="3113">790000</cx:pt>
          <cx:pt idx="3114">790000</cx:pt>
          <cx:pt idx="3115">790000</cx:pt>
          <cx:pt idx="3116">790000</cx:pt>
          <cx:pt idx="3117">790000</cx:pt>
          <cx:pt idx="3118">790000</cx:pt>
          <cx:pt idx="3119">790000</cx:pt>
          <cx:pt idx="3120">789900</cx:pt>
          <cx:pt idx="3121">789888</cx:pt>
          <cx:pt idx="3122">789800</cx:pt>
          <cx:pt idx="3123">789500</cx:pt>
          <cx:pt idx="3124">789500</cx:pt>
          <cx:pt idx="3125">789000</cx:pt>
          <cx:pt idx="3126">788600</cx:pt>
          <cx:pt idx="3127">788500</cx:pt>
          <cx:pt idx="3128">788000</cx:pt>
          <cx:pt idx="3129">788000</cx:pt>
          <cx:pt idx="3130">788000</cx:pt>
          <cx:pt idx="3131">787888</cx:pt>
          <cx:pt idx="3132">787500</cx:pt>
          <cx:pt idx="3133">787500</cx:pt>
          <cx:pt idx="3134">787000</cx:pt>
          <cx:pt idx="3135">786000</cx:pt>
          <cx:pt idx="3136">785950</cx:pt>
          <cx:pt idx="3137">785500</cx:pt>
          <cx:pt idx="3138">785200</cx:pt>
          <cx:pt idx="3139">785000</cx:pt>
          <cx:pt idx="3140">785000</cx:pt>
          <cx:pt idx="3141">785000</cx:pt>
          <cx:pt idx="3142">785000</cx:pt>
          <cx:pt idx="3143">785000</cx:pt>
          <cx:pt idx="3144">785000</cx:pt>
          <cx:pt idx="3145">785000</cx:pt>
          <cx:pt idx="3146">785000</cx:pt>
          <cx:pt idx="3147">785000</cx:pt>
          <cx:pt idx="3148">785000</cx:pt>
          <cx:pt idx="3149">785000</cx:pt>
          <cx:pt idx="3150">785000</cx:pt>
          <cx:pt idx="3151">785000</cx:pt>
          <cx:pt idx="3152">785000</cx:pt>
          <cx:pt idx="3153">785000</cx:pt>
          <cx:pt idx="3154">785000</cx:pt>
          <cx:pt idx="3155">785000</cx:pt>
          <cx:pt idx="3156">785000</cx:pt>
          <cx:pt idx="3157">785000</cx:pt>
          <cx:pt idx="3158">785000</cx:pt>
          <cx:pt idx="3159">785000</cx:pt>
          <cx:pt idx="3160">785000</cx:pt>
          <cx:pt idx="3161">785000</cx:pt>
          <cx:pt idx="3162">785000</cx:pt>
          <cx:pt idx="3163">785000</cx:pt>
          <cx:pt idx="3164">785000</cx:pt>
          <cx:pt idx="3165">785000</cx:pt>
          <cx:pt idx="3166">784950</cx:pt>
          <cx:pt idx="3167">784500</cx:pt>
          <cx:pt idx="3168">784000</cx:pt>
          <cx:pt idx="3169">784000</cx:pt>
          <cx:pt idx="3170">783500</cx:pt>
          <cx:pt idx="3171">783350</cx:pt>
          <cx:pt idx="3172">783200</cx:pt>
          <cx:pt idx="3173">783000</cx:pt>
          <cx:pt idx="3174">782900</cx:pt>
          <cx:pt idx="3175">782500</cx:pt>
          <cx:pt idx="3176">782500</cx:pt>
          <cx:pt idx="3177">782000</cx:pt>
          <cx:pt idx="3178">782000</cx:pt>
          <cx:pt idx="3179">782000</cx:pt>
          <cx:pt idx="3180">782000</cx:pt>
          <cx:pt idx="3181">782000</cx:pt>
          <cx:pt idx="3182">782000</cx:pt>
          <cx:pt idx="3183">782000</cx:pt>
          <cx:pt idx="3184">782000</cx:pt>
          <cx:pt idx="3185">781500</cx:pt>
          <cx:pt idx="3186">781000</cx:pt>
          <cx:pt idx="3187">781000</cx:pt>
          <cx:pt idx="3188">781000</cx:pt>
          <cx:pt idx="3189">781000</cx:pt>
          <cx:pt idx="3190">781000</cx:pt>
          <cx:pt idx="3191">780500</cx:pt>
          <cx:pt idx="3192">780000</cx:pt>
          <cx:pt idx="3193">780000</cx:pt>
          <cx:pt idx="3194">780000</cx:pt>
          <cx:pt idx="3195">780000</cx:pt>
          <cx:pt idx="3196">780000</cx:pt>
          <cx:pt idx="3197">780000</cx:pt>
          <cx:pt idx="3198">780000</cx:pt>
          <cx:pt idx="3199">780000</cx:pt>
          <cx:pt idx="3200">780000</cx:pt>
          <cx:pt idx="3201">780000</cx:pt>
          <cx:pt idx="3202">780000</cx:pt>
          <cx:pt idx="3203">780000</cx:pt>
          <cx:pt idx="3204">780000</cx:pt>
          <cx:pt idx="3205">780000</cx:pt>
          <cx:pt idx="3206">780000</cx:pt>
          <cx:pt idx="3207">780000</cx:pt>
          <cx:pt idx="3208">780000</cx:pt>
          <cx:pt idx="3209">780000</cx:pt>
          <cx:pt idx="3210">780000</cx:pt>
          <cx:pt idx="3211">780000</cx:pt>
          <cx:pt idx="3212">780000</cx:pt>
          <cx:pt idx="3213">780000</cx:pt>
          <cx:pt idx="3214">780000</cx:pt>
          <cx:pt idx="3215">780000</cx:pt>
          <cx:pt idx="3216">780000</cx:pt>
          <cx:pt idx="3217">780000</cx:pt>
          <cx:pt idx="3218">780000</cx:pt>
          <cx:pt idx="3219">780000</cx:pt>
          <cx:pt idx="3220">780000</cx:pt>
          <cx:pt idx="3221">780000</cx:pt>
          <cx:pt idx="3222">780000</cx:pt>
          <cx:pt idx="3223">780000</cx:pt>
          <cx:pt idx="3224">780000</cx:pt>
          <cx:pt idx="3225">780000</cx:pt>
          <cx:pt idx="3226">780000</cx:pt>
          <cx:pt idx="3227">780000</cx:pt>
          <cx:pt idx="3228">780000</cx:pt>
          <cx:pt idx="3229">780000</cx:pt>
          <cx:pt idx="3230">780000</cx:pt>
          <cx:pt idx="3231">780000</cx:pt>
          <cx:pt idx="3232">780000</cx:pt>
          <cx:pt idx="3233">780000</cx:pt>
          <cx:pt idx="3234">780000</cx:pt>
          <cx:pt idx="3235">780000</cx:pt>
          <cx:pt idx="3236">780000</cx:pt>
          <cx:pt idx="3237">780000</cx:pt>
          <cx:pt idx="3238">780000</cx:pt>
          <cx:pt idx="3239">779950</cx:pt>
          <cx:pt idx="3240">779950</cx:pt>
          <cx:pt idx="3241">779950</cx:pt>
          <cx:pt idx="3242">779380</cx:pt>
          <cx:pt idx="3243">779000</cx:pt>
          <cx:pt idx="3244">779000</cx:pt>
          <cx:pt idx="3245">779000</cx:pt>
          <cx:pt idx="3246">779000</cx:pt>
          <cx:pt idx="3247">779000</cx:pt>
          <cx:pt idx="3248">779000</cx:pt>
          <cx:pt idx="3249">779000</cx:pt>
          <cx:pt idx="3250">778983</cx:pt>
          <cx:pt idx="3251">778100</cx:pt>
          <cx:pt idx="3252">778000</cx:pt>
          <cx:pt idx="3253">778000</cx:pt>
          <cx:pt idx="3254">778000</cx:pt>
          <cx:pt idx="3255">777700</cx:pt>
          <cx:pt idx="3256">777000</cx:pt>
          <cx:pt idx="3257">777000</cx:pt>
          <cx:pt idx="3258">777000</cx:pt>
          <cx:pt idx="3259">776500</cx:pt>
          <cx:pt idx="3260">776000</cx:pt>
          <cx:pt idx="3261">776000</cx:pt>
          <cx:pt idx="3262">775950</cx:pt>
          <cx:pt idx="3263">775900</cx:pt>
          <cx:pt idx="3264">775000</cx:pt>
          <cx:pt idx="3265">775000</cx:pt>
          <cx:pt idx="3266">775000</cx:pt>
          <cx:pt idx="3267">775000</cx:pt>
          <cx:pt idx="3268">775000</cx:pt>
          <cx:pt idx="3269">775000</cx:pt>
          <cx:pt idx="3270">775000</cx:pt>
          <cx:pt idx="3271">775000</cx:pt>
          <cx:pt idx="3272">775000</cx:pt>
          <cx:pt idx="3273">775000</cx:pt>
          <cx:pt idx="3274">775000</cx:pt>
          <cx:pt idx="3275">775000</cx:pt>
          <cx:pt idx="3276">775000</cx:pt>
          <cx:pt idx="3277">775000</cx:pt>
          <cx:pt idx="3278">775000</cx:pt>
          <cx:pt idx="3279">775000</cx:pt>
          <cx:pt idx="3280">775000</cx:pt>
          <cx:pt idx="3281">775000</cx:pt>
          <cx:pt idx="3282">775000</cx:pt>
          <cx:pt idx="3283">775000</cx:pt>
          <cx:pt idx="3284">775000</cx:pt>
          <cx:pt idx="3285">775000</cx:pt>
          <cx:pt idx="3286">775000</cx:pt>
          <cx:pt idx="3287">775000</cx:pt>
          <cx:pt idx="3288">775000</cx:pt>
          <cx:pt idx="3289">775000</cx:pt>
          <cx:pt idx="3290">775000</cx:pt>
          <cx:pt idx="3291">775000</cx:pt>
          <cx:pt idx="3292">775000</cx:pt>
          <cx:pt idx="3293">775000</cx:pt>
          <cx:pt idx="3294">775000</cx:pt>
          <cx:pt idx="3295">775000</cx:pt>
          <cx:pt idx="3296">775000</cx:pt>
          <cx:pt idx="3297">775000</cx:pt>
          <cx:pt idx="3298">775000</cx:pt>
          <cx:pt idx="3299">775000</cx:pt>
          <cx:pt idx="3300">775000</cx:pt>
          <cx:pt idx="3301">775000</cx:pt>
          <cx:pt idx="3302">775000</cx:pt>
          <cx:pt idx="3303">775000</cx:pt>
          <cx:pt idx="3304">775000</cx:pt>
          <cx:pt idx="3305">775000</cx:pt>
          <cx:pt idx="3306">775000</cx:pt>
          <cx:pt idx="3307">775000</cx:pt>
          <cx:pt idx="3308">775000</cx:pt>
          <cx:pt idx="3309">775000</cx:pt>
          <cx:pt idx="3310">775000</cx:pt>
          <cx:pt idx="3311">775000</cx:pt>
          <cx:pt idx="3312">775000</cx:pt>
          <cx:pt idx="3313">775000</cx:pt>
          <cx:pt idx="3314">775000</cx:pt>
          <cx:pt idx="3315">775000</cx:pt>
          <cx:pt idx="3316">775000</cx:pt>
          <cx:pt idx="3317">775000</cx:pt>
          <cx:pt idx="3318">775000</cx:pt>
          <cx:pt idx="3319">775000</cx:pt>
          <cx:pt idx="3320">775000</cx:pt>
          <cx:pt idx="3321">775000</cx:pt>
          <cx:pt idx="3322">774950</cx:pt>
          <cx:pt idx="3323">774900</cx:pt>
          <cx:pt idx="3324">774888</cx:pt>
          <cx:pt idx="3325">774000</cx:pt>
          <cx:pt idx="3326">774000</cx:pt>
          <cx:pt idx="3327">773000</cx:pt>
          <cx:pt idx="3328">772650</cx:pt>
          <cx:pt idx="3329">772500</cx:pt>
          <cx:pt idx="3330">772500</cx:pt>
          <cx:pt idx="3331">772500</cx:pt>
          <cx:pt idx="3332">772000</cx:pt>
          <cx:pt idx="3333">772000</cx:pt>
          <cx:pt idx="3334">772000</cx:pt>
          <cx:pt idx="3335">772000</cx:pt>
          <cx:pt idx="3336">772000</cx:pt>
          <cx:pt idx="3337">771150</cx:pt>
          <cx:pt idx="3338">771005</cx:pt>
          <cx:pt idx="3339">771000</cx:pt>
          <cx:pt idx="3340">771000</cx:pt>
          <cx:pt idx="3341">771000</cx:pt>
          <cx:pt idx="3342">770126</cx:pt>
          <cx:pt idx="3343">770000</cx:pt>
          <cx:pt idx="3344">770000</cx:pt>
          <cx:pt idx="3345">770000</cx:pt>
          <cx:pt idx="3346">770000</cx:pt>
          <cx:pt idx="3347">770000</cx:pt>
          <cx:pt idx="3348">770000</cx:pt>
          <cx:pt idx="3349">770000</cx:pt>
          <cx:pt idx="3350">770000</cx:pt>
          <cx:pt idx="3351">770000</cx:pt>
          <cx:pt idx="3352">770000</cx:pt>
          <cx:pt idx="3353">770000</cx:pt>
          <cx:pt idx="3354">770000</cx:pt>
          <cx:pt idx="3355">770000</cx:pt>
          <cx:pt idx="3356">770000</cx:pt>
          <cx:pt idx="3357">770000</cx:pt>
          <cx:pt idx="3358">770000</cx:pt>
          <cx:pt idx="3359">770000</cx:pt>
          <cx:pt idx="3360">770000</cx:pt>
          <cx:pt idx="3361">770000</cx:pt>
          <cx:pt idx="3362">770000</cx:pt>
          <cx:pt idx="3363">770000</cx:pt>
          <cx:pt idx="3364">770000</cx:pt>
          <cx:pt idx="3365">770000</cx:pt>
          <cx:pt idx="3366">770000</cx:pt>
          <cx:pt idx="3367">770000</cx:pt>
          <cx:pt idx="3368">770000</cx:pt>
          <cx:pt idx="3369">770000</cx:pt>
          <cx:pt idx="3370">770000</cx:pt>
          <cx:pt idx="3371">770000</cx:pt>
          <cx:pt idx="3372">770000</cx:pt>
          <cx:pt idx="3373">770000</cx:pt>
          <cx:pt idx="3374">770000</cx:pt>
          <cx:pt idx="3375">769995</cx:pt>
          <cx:pt idx="3376">769995</cx:pt>
          <cx:pt idx="3377">769950</cx:pt>
          <cx:pt idx="3378">769900</cx:pt>
          <cx:pt idx="3379">769000</cx:pt>
          <cx:pt idx="3380">769000</cx:pt>
          <cx:pt idx="3381">769000</cx:pt>
          <cx:pt idx="3382">769000</cx:pt>
          <cx:pt idx="3383">768500</cx:pt>
          <cx:pt idx="3384">768000</cx:pt>
          <cx:pt idx="3385">768000</cx:pt>
          <cx:pt idx="3386">768000</cx:pt>
          <cx:pt idx="3387">767500</cx:pt>
          <cx:pt idx="3388">767500</cx:pt>
          <cx:pt idx="3389">767500</cx:pt>
          <cx:pt idx="3390">767450</cx:pt>
          <cx:pt idx="3391">767250</cx:pt>
          <cx:pt idx="3392">766950</cx:pt>
          <cx:pt idx="3393">766500</cx:pt>
          <cx:pt idx="3394">766000</cx:pt>
          <cx:pt idx="3395">765000</cx:pt>
          <cx:pt idx="3396">765000</cx:pt>
          <cx:pt idx="3397">765000</cx:pt>
          <cx:pt idx="3398">765000</cx:pt>
          <cx:pt idx="3399">765000</cx:pt>
          <cx:pt idx="3400">765000</cx:pt>
          <cx:pt idx="3401">765000</cx:pt>
          <cx:pt idx="3402">765000</cx:pt>
          <cx:pt idx="3403">765000</cx:pt>
          <cx:pt idx="3404">765000</cx:pt>
          <cx:pt idx="3405">765000</cx:pt>
          <cx:pt idx="3406">765000</cx:pt>
          <cx:pt idx="3407">765000</cx:pt>
          <cx:pt idx="3408">765000</cx:pt>
          <cx:pt idx="3409">765000</cx:pt>
          <cx:pt idx="3410">765000</cx:pt>
          <cx:pt idx="3411">765000</cx:pt>
          <cx:pt idx="3412">765000</cx:pt>
          <cx:pt idx="3413">765000</cx:pt>
          <cx:pt idx="3414">765000</cx:pt>
          <cx:pt idx="3415">765000</cx:pt>
          <cx:pt idx="3416">765000</cx:pt>
          <cx:pt idx="3417">765000</cx:pt>
          <cx:pt idx="3418">765000</cx:pt>
          <cx:pt idx="3419">765000</cx:pt>
          <cx:pt idx="3420">765000</cx:pt>
          <cx:pt idx="3421">765000</cx:pt>
          <cx:pt idx="3422">765000</cx:pt>
          <cx:pt idx="3423">765000</cx:pt>
          <cx:pt idx="3424">765000</cx:pt>
          <cx:pt idx="3425">765000</cx:pt>
          <cx:pt idx="3426">765000</cx:pt>
          <cx:pt idx="3427">765000</cx:pt>
          <cx:pt idx="3428">765000</cx:pt>
          <cx:pt idx="3429">765000</cx:pt>
          <cx:pt idx="3430">765000</cx:pt>
          <cx:pt idx="3431">765000</cx:pt>
          <cx:pt idx="3432">764000</cx:pt>
          <cx:pt idx="3433">764000</cx:pt>
          <cx:pt idx="3434">763776</cx:pt>
          <cx:pt idx="3435">763101</cx:pt>
          <cx:pt idx="3436">763000</cx:pt>
          <cx:pt idx="3437">763000</cx:pt>
          <cx:pt idx="3438">763000</cx:pt>
          <cx:pt idx="3439">762500</cx:pt>
          <cx:pt idx="3440">762500</cx:pt>
          <cx:pt idx="3441">762500</cx:pt>
          <cx:pt idx="3442">762500</cx:pt>
          <cx:pt idx="3443">762500</cx:pt>
          <cx:pt idx="3444">762450</cx:pt>
          <cx:pt idx="3445">762400</cx:pt>
          <cx:pt idx="3446">762300</cx:pt>
          <cx:pt idx="3447">762000</cx:pt>
          <cx:pt idx="3448">762000</cx:pt>
          <cx:pt idx="3449">762000</cx:pt>
          <cx:pt idx="3450">762000</cx:pt>
          <cx:pt idx="3451">761000</cx:pt>
          <cx:pt idx="3452">760750</cx:pt>
          <cx:pt idx="3453">760500</cx:pt>
          <cx:pt idx="3454">760500</cx:pt>
          <cx:pt idx="3455">760369</cx:pt>
          <cx:pt idx="3456">760250</cx:pt>
          <cx:pt idx="3457">760005</cx:pt>
          <cx:pt idx="3458">760000</cx:pt>
          <cx:pt idx="3459">760000</cx:pt>
          <cx:pt idx="3460">760000</cx:pt>
          <cx:pt idx="3461">760000</cx:pt>
          <cx:pt idx="3462">760000</cx:pt>
          <cx:pt idx="3463">760000</cx:pt>
          <cx:pt idx="3464">760000</cx:pt>
          <cx:pt idx="3465">760000</cx:pt>
          <cx:pt idx="3466">760000</cx:pt>
          <cx:pt idx="3467">760000</cx:pt>
          <cx:pt idx="3468">760000</cx:pt>
          <cx:pt idx="3469">760000</cx:pt>
          <cx:pt idx="3470">760000</cx:pt>
          <cx:pt idx="3471">760000</cx:pt>
          <cx:pt idx="3472">760000</cx:pt>
          <cx:pt idx="3473">760000</cx:pt>
          <cx:pt idx="3474">760000</cx:pt>
          <cx:pt idx="3475">760000</cx:pt>
          <cx:pt idx="3476">760000</cx:pt>
          <cx:pt idx="3477">760000</cx:pt>
          <cx:pt idx="3478">760000</cx:pt>
          <cx:pt idx="3479">760000</cx:pt>
          <cx:pt idx="3480">760000</cx:pt>
          <cx:pt idx="3481">760000</cx:pt>
          <cx:pt idx="3482">760000</cx:pt>
          <cx:pt idx="3483">760000</cx:pt>
          <cx:pt idx="3484">760000</cx:pt>
          <cx:pt idx="3485">760000</cx:pt>
          <cx:pt idx="3486">760000</cx:pt>
          <cx:pt idx="3487">760000</cx:pt>
          <cx:pt idx="3488">760000</cx:pt>
          <cx:pt idx="3489">760000</cx:pt>
          <cx:pt idx="3490">760000</cx:pt>
          <cx:pt idx="3491">760000</cx:pt>
          <cx:pt idx="3492">760000</cx:pt>
          <cx:pt idx="3493">760000</cx:pt>
          <cx:pt idx="3494">760000</cx:pt>
          <cx:pt idx="3495">760000</cx:pt>
          <cx:pt idx="3496">760000</cx:pt>
          <cx:pt idx="3497">760000</cx:pt>
          <cx:pt idx="3498">760000</cx:pt>
          <cx:pt idx="3499">760000</cx:pt>
          <cx:pt idx="3500">760000</cx:pt>
          <cx:pt idx="3501">760000</cx:pt>
          <cx:pt idx="3502">760000</cx:pt>
          <cx:pt idx="3503">760000</cx:pt>
          <cx:pt idx="3504">760000</cx:pt>
          <cx:pt idx="3505">760000</cx:pt>
          <cx:pt idx="3506">760000</cx:pt>
          <cx:pt idx="3507">760000</cx:pt>
          <cx:pt idx="3508">760000</cx:pt>
          <cx:pt idx="3509">759990</cx:pt>
          <cx:pt idx="3510">759950</cx:pt>
          <cx:pt idx="3511">759950</cx:pt>
          <cx:pt idx="3512">759900</cx:pt>
          <cx:pt idx="3513">759600</cx:pt>
          <cx:pt idx="3514">759000</cx:pt>
          <cx:pt idx="3515">759000</cx:pt>
          <cx:pt idx="3516">759000</cx:pt>
          <cx:pt idx="3517">759000</cx:pt>
          <cx:pt idx="3518">759000</cx:pt>
          <cx:pt idx="3519">759000</cx:pt>
          <cx:pt idx="3520">759000</cx:pt>
          <cx:pt idx="3521">758800</cx:pt>
          <cx:pt idx="3522">758000</cx:pt>
          <cx:pt idx="3523">757500</cx:pt>
          <cx:pt idx="3524">757500</cx:pt>
          <cx:pt idx="3525">757000</cx:pt>
          <cx:pt idx="3526">757000</cx:pt>
          <cx:pt idx="3527">756450</cx:pt>
          <cx:pt idx="3528">756100</cx:pt>
          <cx:pt idx="3529">756000</cx:pt>
          <cx:pt idx="3530">756000</cx:pt>
          <cx:pt idx="3531">756000</cx:pt>
          <cx:pt idx="3532">756000</cx:pt>
          <cx:pt idx="3533">755000</cx:pt>
          <cx:pt idx="3534">755000</cx:pt>
          <cx:pt idx="3535">755000</cx:pt>
          <cx:pt idx="3536">755000</cx:pt>
          <cx:pt idx="3537">755000</cx:pt>
          <cx:pt idx="3538">755000</cx:pt>
          <cx:pt idx="3539">755000</cx:pt>
          <cx:pt idx="3540">755000</cx:pt>
          <cx:pt idx="3541">755000</cx:pt>
          <cx:pt idx="3542">755000</cx:pt>
          <cx:pt idx="3543">755000</cx:pt>
          <cx:pt idx="3544">755000</cx:pt>
          <cx:pt idx="3545">755000</cx:pt>
          <cx:pt idx="3546">755000</cx:pt>
          <cx:pt idx="3547">754999</cx:pt>
          <cx:pt idx="3548">754950</cx:pt>
          <cx:pt idx="3549">754842</cx:pt>
          <cx:pt idx="3550">754800</cx:pt>
          <cx:pt idx="3551">754300</cx:pt>
          <cx:pt idx="3552">754000</cx:pt>
          <cx:pt idx="3553">754000</cx:pt>
          <cx:pt idx="3554">753888</cx:pt>
          <cx:pt idx="3555">753000</cx:pt>
          <cx:pt idx="3556">753000</cx:pt>
          <cx:pt idx="3557">753000</cx:pt>
          <cx:pt idx="3558">753000</cx:pt>
          <cx:pt idx="3559">753000</cx:pt>
          <cx:pt idx="3560">752888</cx:pt>
          <cx:pt idx="3561">752875</cx:pt>
          <cx:pt idx="3562">752500</cx:pt>
          <cx:pt idx="3563">752500</cx:pt>
          <cx:pt idx="3564">752500</cx:pt>
          <cx:pt idx="3565">752000</cx:pt>
          <cx:pt idx="3566">752000</cx:pt>
          <cx:pt idx="3567">752000</cx:pt>
          <cx:pt idx="3568">752000</cx:pt>
          <cx:pt idx="3569">751750</cx:pt>
          <cx:pt idx="3570">751305</cx:pt>
          <cx:pt idx="3571">751000</cx:pt>
          <cx:pt idx="3572">751000</cx:pt>
          <cx:pt idx="3573">751000</cx:pt>
          <cx:pt idx="3574">751000</cx:pt>
          <cx:pt idx="3575">751000</cx:pt>
          <cx:pt idx="3576">751000</cx:pt>
          <cx:pt idx="3577">751000</cx:pt>
          <cx:pt idx="3578">751000</cx:pt>
          <cx:pt idx="3579">750500</cx:pt>
          <cx:pt idx="3580">750500</cx:pt>
          <cx:pt idx="3581">750000</cx:pt>
          <cx:pt idx="3582">750000</cx:pt>
          <cx:pt idx="3583">750000</cx:pt>
          <cx:pt idx="3584">750000</cx:pt>
          <cx:pt idx="3585">750000</cx:pt>
          <cx:pt idx="3586">750000</cx:pt>
          <cx:pt idx="3587">750000</cx:pt>
          <cx:pt idx="3588">750000</cx:pt>
          <cx:pt idx="3589">750000</cx:pt>
          <cx:pt idx="3590">750000</cx:pt>
          <cx:pt idx="3591">750000</cx:pt>
          <cx:pt idx="3592">750000</cx:pt>
          <cx:pt idx="3593">750000</cx:pt>
          <cx:pt idx="3594">750000</cx:pt>
          <cx:pt idx="3595">750000</cx:pt>
          <cx:pt idx="3596">750000</cx:pt>
          <cx:pt idx="3597">750000</cx:pt>
          <cx:pt idx="3598">750000</cx:pt>
          <cx:pt idx="3599">750000</cx:pt>
          <cx:pt idx="3600">750000</cx:pt>
          <cx:pt idx="3601">750000</cx:pt>
          <cx:pt idx="3602">750000</cx:pt>
          <cx:pt idx="3603">750000</cx:pt>
          <cx:pt idx="3604">750000</cx:pt>
          <cx:pt idx="3605">750000</cx:pt>
          <cx:pt idx="3606">750000</cx:pt>
          <cx:pt idx="3607">750000</cx:pt>
          <cx:pt idx="3608">750000</cx:pt>
          <cx:pt idx="3609">750000</cx:pt>
          <cx:pt idx="3610">750000</cx:pt>
          <cx:pt idx="3611">750000</cx:pt>
          <cx:pt idx="3612">750000</cx:pt>
          <cx:pt idx="3613">750000</cx:pt>
          <cx:pt idx="3614">750000</cx:pt>
          <cx:pt idx="3615">750000</cx:pt>
          <cx:pt idx="3616">750000</cx:pt>
          <cx:pt idx="3617">750000</cx:pt>
          <cx:pt idx="3618">750000</cx:pt>
          <cx:pt idx="3619">750000</cx:pt>
          <cx:pt idx="3620">750000</cx:pt>
          <cx:pt idx="3621">750000</cx:pt>
          <cx:pt idx="3622">750000</cx:pt>
          <cx:pt idx="3623">750000</cx:pt>
          <cx:pt idx="3624">750000</cx:pt>
          <cx:pt idx="3625">750000</cx:pt>
          <cx:pt idx="3626">750000</cx:pt>
          <cx:pt idx="3627">750000</cx:pt>
          <cx:pt idx="3628">750000</cx:pt>
          <cx:pt idx="3629">750000</cx:pt>
          <cx:pt idx="3630">750000</cx:pt>
          <cx:pt idx="3631">750000</cx:pt>
          <cx:pt idx="3632">750000</cx:pt>
          <cx:pt idx="3633">750000</cx:pt>
          <cx:pt idx="3634">750000</cx:pt>
          <cx:pt idx="3635">750000</cx:pt>
          <cx:pt idx="3636">750000</cx:pt>
          <cx:pt idx="3637">750000</cx:pt>
          <cx:pt idx="3638">750000</cx:pt>
          <cx:pt idx="3639">750000</cx:pt>
          <cx:pt idx="3640">750000</cx:pt>
          <cx:pt idx="3641">750000</cx:pt>
          <cx:pt idx="3642">750000</cx:pt>
          <cx:pt idx="3643">750000</cx:pt>
          <cx:pt idx="3644">750000</cx:pt>
          <cx:pt idx="3645">750000</cx:pt>
          <cx:pt idx="3646">750000</cx:pt>
          <cx:pt idx="3647">750000</cx:pt>
          <cx:pt idx="3648">750000</cx:pt>
          <cx:pt idx="3649">750000</cx:pt>
          <cx:pt idx="3650">750000</cx:pt>
          <cx:pt idx="3651">750000</cx:pt>
          <cx:pt idx="3652">750000</cx:pt>
          <cx:pt idx="3653">750000</cx:pt>
          <cx:pt idx="3654">750000</cx:pt>
          <cx:pt idx="3655">750000</cx:pt>
          <cx:pt idx="3656">750000</cx:pt>
          <cx:pt idx="3657">750000</cx:pt>
          <cx:pt idx="3658">750000</cx:pt>
          <cx:pt idx="3659">750000</cx:pt>
          <cx:pt idx="3660">750000</cx:pt>
          <cx:pt idx="3661">750000</cx:pt>
          <cx:pt idx="3662">750000</cx:pt>
          <cx:pt idx="3663">750000</cx:pt>
          <cx:pt idx="3664">750000</cx:pt>
          <cx:pt idx="3665">750000</cx:pt>
          <cx:pt idx="3666">750000</cx:pt>
          <cx:pt idx="3667">750000</cx:pt>
          <cx:pt idx="3668">749999</cx:pt>
          <cx:pt idx="3669">749995</cx:pt>
          <cx:pt idx="3670">749950</cx:pt>
          <cx:pt idx="3671">749950</cx:pt>
          <cx:pt idx="3672">749950</cx:pt>
          <cx:pt idx="3673">749950</cx:pt>
          <cx:pt idx="3674">749950</cx:pt>
          <cx:pt idx="3675">749950</cx:pt>
          <cx:pt idx="3676">749950</cx:pt>
          <cx:pt idx="3677">749950</cx:pt>
          <cx:pt idx="3678">749950</cx:pt>
          <cx:pt idx="3679">749950</cx:pt>
          <cx:pt idx="3680">749950</cx:pt>
          <cx:pt idx="3681">749700</cx:pt>
          <cx:pt idx="3682">749500</cx:pt>
          <cx:pt idx="3683">749500</cx:pt>
          <cx:pt idx="3684">749400</cx:pt>
          <cx:pt idx="3685">749000</cx:pt>
          <cx:pt idx="3686">749000</cx:pt>
          <cx:pt idx="3687">749000</cx:pt>
          <cx:pt idx="3688">749000</cx:pt>
          <cx:pt idx="3689">749000</cx:pt>
          <cx:pt idx="3690">749000</cx:pt>
          <cx:pt idx="3691">749000</cx:pt>
          <cx:pt idx="3692">749000</cx:pt>
          <cx:pt idx="3693">749000</cx:pt>
          <cx:pt idx="3694">748000</cx:pt>
          <cx:pt idx="3695">748000</cx:pt>
          <cx:pt idx="3696">748000</cx:pt>
          <cx:pt idx="3697">748000</cx:pt>
          <cx:pt idx="3698">747500</cx:pt>
          <cx:pt idx="3699">747500</cx:pt>
          <cx:pt idx="3700">747450</cx:pt>
          <cx:pt idx="3701">747000</cx:pt>
          <cx:pt idx="3702">747000</cx:pt>
          <cx:pt idx="3703">747000</cx:pt>
          <cx:pt idx="3704">746500</cx:pt>
          <cx:pt idx="3705">746300</cx:pt>
          <cx:pt idx="3706">746000</cx:pt>
          <cx:pt idx="3707">746000</cx:pt>
          <cx:pt idx="3708">746000</cx:pt>
          <cx:pt idx="3709">746000</cx:pt>
          <cx:pt idx="3710">745641</cx:pt>
          <cx:pt idx="3711">745000</cx:pt>
          <cx:pt idx="3712">745000</cx:pt>
          <cx:pt idx="3713">745000</cx:pt>
          <cx:pt idx="3714">745000</cx:pt>
          <cx:pt idx="3715">745000</cx:pt>
          <cx:pt idx="3716">745000</cx:pt>
          <cx:pt idx="3717">745000</cx:pt>
          <cx:pt idx="3718">745000</cx:pt>
          <cx:pt idx="3719">745000</cx:pt>
          <cx:pt idx="3720">745000</cx:pt>
          <cx:pt idx="3721">745000</cx:pt>
          <cx:pt idx="3722">745000</cx:pt>
          <cx:pt idx="3723">745000</cx:pt>
          <cx:pt idx="3724">745000</cx:pt>
          <cx:pt idx="3725">745000</cx:pt>
          <cx:pt idx="3726">745000</cx:pt>
          <cx:pt idx="3727">745000</cx:pt>
          <cx:pt idx="3728">745000</cx:pt>
          <cx:pt idx="3729">745000</cx:pt>
          <cx:pt idx="3730">745000</cx:pt>
          <cx:pt idx="3731">744500</cx:pt>
          <cx:pt idx="3732">744000</cx:pt>
          <cx:pt idx="3733">744000</cx:pt>
          <cx:pt idx="3734">744000</cx:pt>
          <cx:pt idx="3735">744000</cx:pt>
          <cx:pt idx="3736">744000</cx:pt>
          <cx:pt idx="3737">743700</cx:pt>
          <cx:pt idx="3738">743000</cx:pt>
          <cx:pt idx="3739">743000</cx:pt>
          <cx:pt idx="3740">742500</cx:pt>
          <cx:pt idx="3741">742500</cx:pt>
          <cx:pt idx="3742">742500</cx:pt>
          <cx:pt idx="3743">742000</cx:pt>
          <cx:pt idx="3744">742000</cx:pt>
          <cx:pt idx="3745">741500</cx:pt>
          <cx:pt idx="3746">741000</cx:pt>
          <cx:pt idx="3747">740500</cx:pt>
          <cx:pt idx="3748">740000</cx:pt>
          <cx:pt idx="3749">740000</cx:pt>
          <cx:pt idx="3750">740000</cx:pt>
          <cx:pt idx="3751">740000</cx:pt>
          <cx:pt idx="3752">740000</cx:pt>
          <cx:pt idx="3753">740000</cx:pt>
          <cx:pt idx="3754">740000</cx:pt>
          <cx:pt idx="3755">740000</cx:pt>
          <cx:pt idx="3756">740000</cx:pt>
          <cx:pt idx="3757">740000</cx:pt>
          <cx:pt idx="3758">740000</cx:pt>
          <cx:pt idx="3759">740000</cx:pt>
          <cx:pt idx="3760">740000</cx:pt>
          <cx:pt idx="3761">740000</cx:pt>
          <cx:pt idx="3762">740000</cx:pt>
          <cx:pt idx="3763">740000</cx:pt>
          <cx:pt idx="3764">740000</cx:pt>
          <cx:pt idx="3765">740000</cx:pt>
          <cx:pt idx="3766">740000</cx:pt>
          <cx:pt idx="3767">740000</cx:pt>
          <cx:pt idx="3768">740000</cx:pt>
          <cx:pt idx="3769">740000</cx:pt>
          <cx:pt idx="3770">740000</cx:pt>
          <cx:pt idx="3771">740000</cx:pt>
          <cx:pt idx="3772">740000</cx:pt>
          <cx:pt idx="3773">740000</cx:pt>
          <cx:pt idx="3774">740000</cx:pt>
          <cx:pt idx="3775">740000</cx:pt>
          <cx:pt idx="3776">740000</cx:pt>
          <cx:pt idx="3777">740000</cx:pt>
          <cx:pt idx="3778">740000</cx:pt>
          <cx:pt idx="3779">740000</cx:pt>
          <cx:pt idx="3780">740000</cx:pt>
          <cx:pt idx="3781">740000</cx:pt>
          <cx:pt idx="3782">740000</cx:pt>
          <cx:pt idx="3783">740000</cx:pt>
          <cx:pt idx="3784">740000</cx:pt>
          <cx:pt idx="3785">740000</cx:pt>
          <cx:pt idx="3786">740000</cx:pt>
          <cx:pt idx="3787">740000</cx:pt>
          <cx:pt idx="3788">740000</cx:pt>
          <cx:pt idx="3789">739999</cx:pt>
          <cx:pt idx="3790">739900</cx:pt>
          <cx:pt idx="3791">739900</cx:pt>
          <cx:pt idx="3792">739888</cx:pt>
          <cx:pt idx="3793">739500</cx:pt>
          <cx:pt idx="3794">739375</cx:pt>
          <cx:pt idx="3795">739000</cx:pt>
          <cx:pt idx="3796">739000</cx:pt>
          <cx:pt idx="3797">739000</cx:pt>
          <cx:pt idx="3798">739000</cx:pt>
          <cx:pt idx="3799">739000</cx:pt>
          <cx:pt idx="3800">739000</cx:pt>
          <cx:pt idx="3801">739000</cx:pt>
          <cx:pt idx="3802">739000</cx:pt>
          <cx:pt idx="3803">739000</cx:pt>
          <cx:pt idx="3804">739000</cx:pt>
          <cx:pt idx="3805">739000</cx:pt>
          <cx:pt idx="3806">739000</cx:pt>
          <cx:pt idx="3807">738950</cx:pt>
          <cx:pt idx="3808">738515</cx:pt>
          <cx:pt idx="3809">738500</cx:pt>
          <cx:pt idx="3810">738000</cx:pt>
          <cx:pt idx="3811">738000</cx:pt>
          <cx:pt idx="3812">738000</cx:pt>
          <cx:pt idx="3813">738000</cx:pt>
          <cx:pt idx="3814">738000</cx:pt>
          <cx:pt idx="3815">738000</cx:pt>
          <cx:pt idx="3816">737500</cx:pt>
          <cx:pt idx="3817">737500</cx:pt>
          <cx:pt idx="3818">737000</cx:pt>
          <cx:pt idx="3819">737000</cx:pt>
          <cx:pt idx="3820">736500</cx:pt>
          <cx:pt idx="3821">736500</cx:pt>
          <cx:pt idx="3822">736000</cx:pt>
          <cx:pt idx="3823">736000</cx:pt>
          <cx:pt idx="3824">736000</cx:pt>
          <cx:pt idx="3825">736000</cx:pt>
          <cx:pt idx="3826">735000</cx:pt>
          <cx:pt idx="3827">735000</cx:pt>
          <cx:pt idx="3828">735000</cx:pt>
          <cx:pt idx="3829">735000</cx:pt>
          <cx:pt idx="3830">735000</cx:pt>
          <cx:pt idx="3831">735000</cx:pt>
          <cx:pt idx="3832">735000</cx:pt>
          <cx:pt idx="3833">735000</cx:pt>
          <cx:pt idx="3834">735000</cx:pt>
          <cx:pt idx="3835">735000</cx:pt>
          <cx:pt idx="3836">735000</cx:pt>
          <cx:pt idx="3837">735000</cx:pt>
          <cx:pt idx="3838">735000</cx:pt>
          <cx:pt idx="3839">735000</cx:pt>
          <cx:pt idx="3840">735000</cx:pt>
          <cx:pt idx="3841">735000</cx:pt>
          <cx:pt idx="3842">735000</cx:pt>
          <cx:pt idx="3843">735000</cx:pt>
          <cx:pt idx="3844">735000</cx:pt>
          <cx:pt idx="3845">735000</cx:pt>
          <cx:pt idx="3846">735000</cx:pt>
          <cx:pt idx="3847">735000</cx:pt>
          <cx:pt idx="3848">735000</cx:pt>
          <cx:pt idx="3849">735000</cx:pt>
          <cx:pt idx="3850">735000</cx:pt>
          <cx:pt idx="3851">735000</cx:pt>
          <cx:pt idx="3852">735000</cx:pt>
          <cx:pt idx="3853">735000</cx:pt>
          <cx:pt idx="3854">735000</cx:pt>
          <cx:pt idx="3855">735000</cx:pt>
          <cx:pt idx="3856">734990</cx:pt>
          <cx:pt idx="3857">734950</cx:pt>
          <cx:pt idx="3858">734500</cx:pt>
          <cx:pt idx="3859">734200</cx:pt>
          <cx:pt idx="3860">734000</cx:pt>
          <cx:pt idx="3861">734000</cx:pt>
          <cx:pt idx="3862">734000</cx:pt>
          <cx:pt idx="3863">734000</cx:pt>
          <cx:pt idx="3864">734000</cx:pt>
          <cx:pt idx="3865">734000</cx:pt>
          <cx:pt idx="3866">733500</cx:pt>
          <cx:pt idx="3867">733000</cx:pt>
          <cx:pt idx="3868">733000</cx:pt>
          <cx:pt idx="3869">733000</cx:pt>
          <cx:pt idx="3870">733000</cx:pt>
          <cx:pt idx="3871">733000</cx:pt>
          <cx:pt idx="3872">733000</cx:pt>
          <cx:pt idx="3873">733000</cx:pt>
          <cx:pt idx="3874">732600</cx:pt>
          <cx:pt idx="3875">732500</cx:pt>
          <cx:pt idx="3876">732350</cx:pt>
          <cx:pt idx="3877">732000</cx:pt>
          <cx:pt idx="3878">732000</cx:pt>
          <cx:pt idx="3879">732000</cx:pt>
          <cx:pt idx="3880">732000</cx:pt>
          <cx:pt idx="3881">732000</cx:pt>
          <cx:pt idx="3882">731781</cx:pt>
          <cx:pt idx="3883">731688</cx:pt>
          <cx:pt idx="3884">731500</cx:pt>
          <cx:pt idx="3885">731100</cx:pt>
          <cx:pt idx="3886">731000</cx:pt>
          <cx:pt idx="3887">731000</cx:pt>
          <cx:pt idx="3888">730100</cx:pt>
          <cx:pt idx="3889">730001</cx:pt>
          <cx:pt idx="3890">730000</cx:pt>
          <cx:pt idx="3891">730000</cx:pt>
          <cx:pt idx="3892">730000</cx:pt>
          <cx:pt idx="3893">730000</cx:pt>
          <cx:pt idx="3894">730000</cx:pt>
          <cx:pt idx="3895">730000</cx:pt>
          <cx:pt idx="3896">730000</cx:pt>
          <cx:pt idx="3897">730000</cx:pt>
          <cx:pt idx="3898">730000</cx:pt>
          <cx:pt idx="3899">730000</cx:pt>
          <cx:pt idx="3900">730000</cx:pt>
          <cx:pt idx="3901">730000</cx:pt>
          <cx:pt idx="3902">730000</cx:pt>
          <cx:pt idx="3903">730000</cx:pt>
          <cx:pt idx="3904">730000</cx:pt>
          <cx:pt idx="3905">730000</cx:pt>
          <cx:pt idx="3906">730000</cx:pt>
          <cx:pt idx="3907">730000</cx:pt>
          <cx:pt idx="3908">730000</cx:pt>
          <cx:pt idx="3909">730000</cx:pt>
          <cx:pt idx="3910">730000</cx:pt>
          <cx:pt idx="3911">730000</cx:pt>
          <cx:pt idx="3912">730000</cx:pt>
          <cx:pt idx="3913">730000</cx:pt>
          <cx:pt idx="3914">730000</cx:pt>
          <cx:pt idx="3915">730000</cx:pt>
          <cx:pt idx="3916">730000</cx:pt>
          <cx:pt idx="3917">730000</cx:pt>
          <cx:pt idx="3918">730000</cx:pt>
          <cx:pt idx="3919">730000</cx:pt>
          <cx:pt idx="3920">730000</cx:pt>
          <cx:pt idx="3921">730000</cx:pt>
          <cx:pt idx="3922">730000</cx:pt>
          <cx:pt idx="3923">730000</cx:pt>
          <cx:pt idx="3924">729999</cx:pt>
          <cx:pt idx="3925">729999</cx:pt>
          <cx:pt idx="3926">729953</cx:pt>
          <cx:pt idx="3927">729950</cx:pt>
          <cx:pt idx="3928">729500</cx:pt>
          <cx:pt idx="3929">729032</cx:pt>
          <cx:pt idx="3930">729000</cx:pt>
          <cx:pt idx="3931">729000</cx:pt>
          <cx:pt idx="3932">729000</cx:pt>
          <cx:pt idx="3933">729000</cx:pt>
          <cx:pt idx="3934">729000</cx:pt>
          <cx:pt idx="3935">729000</cx:pt>
          <cx:pt idx="3936">729000</cx:pt>
          <cx:pt idx="3937">729000</cx:pt>
          <cx:pt idx="3938">729000</cx:pt>
          <cx:pt idx="3939">728935</cx:pt>
          <cx:pt idx="3940">728725</cx:pt>
          <cx:pt idx="3941">728050</cx:pt>
          <cx:pt idx="3942">728000</cx:pt>
          <cx:pt idx="3943">728000</cx:pt>
          <cx:pt idx="3944">728000</cx:pt>
          <cx:pt idx="3945">728000</cx:pt>
          <cx:pt idx="3946">727500</cx:pt>
          <cx:pt idx="3947">727500</cx:pt>
          <cx:pt idx="3948">727160</cx:pt>
          <cx:pt idx="3949">727000</cx:pt>
          <cx:pt idx="3950">727000</cx:pt>
          <cx:pt idx="3951">727000</cx:pt>
          <cx:pt idx="3952">726888</cx:pt>
          <cx:pt idx="3953">726500</cx:pt>
          <cx:pt idx="3954">726000</cx:pt>
          <cx:pt idx="3955">726000</cx:pt>
          <cx:pt idx="3956">726000</cx:pt>
          <cx:pt idx="3957">725995</cx:pt>
          <cx:pt idx="3958">725786</cx:pt>
          <cx:pt idx="3959">725500</cx:pt>
          <cx:pt idx="3960">725126</cx:pt>
          <cx:pt idx="3961">725000</cx:pt>
          <cx:pt idx="3962">725000</cx:pt>
          <cx:pt idx="3963">725000</cx:pt>
          <cx:pt idx="3964">725000</cx:pt>
          <cx:pt idx="3965">725000</cx:pt>
          <cx:pt idx="3966">725000</cx:pt>
          <cx:pt idx="3967">725000</cx:pt>
          <cx:pt idx="3968">725000</cx:pt>
          <cx:pt idx="3969">725000</cx:pt>
          <cx:pt idx="3970">725000</cx:pt>
          <cx:pt idx="3971">725000</cx:pt>
          <cx:pt idx="3972">725000</cx:pt>
          <cx:pt idx="3973">725000</cx:pt>
          <cx:pt idx="3974">725000</cx:pt>
          <cx:pt idx="3975">725000</cx:pt>
          <cx:pt idx="3976">725000</cx:pt>
          <cx:pt idx="3977">725000</cx:pt>
          <cx:pt idx="3978">725000</cx:pt>
          <cx:pt idx="3979">725000</cx:pt>
          <cx:pt idx="3980">725000</cx:pt>
          <cx:pt idx="3981">725000</cx:pt>
          <cx:pt idx="3982">725000</cx:pt>
          <cx:pt idx="3983">725000</cx:pt>
          <cx:pt idx="3984">725000</cx:pt>
          <cx:pt idx="3985">725000</cx:pt>
          <cx:pt idx="3986">725000</cx:pt>
          <cx:pt idx="3987">725000</cx:pt>
          <cx:pt idx="3988">725000</cx:pt>
          <cx:pt idx="3989">725000</cx:pt>
          <cx:pt idx="3990">725000</cx:pt>
          <cx:pt idx="3991">725000</cx:pt>
          <cx:pt idx="3992">725000</cx:pt>
          <cx:pt idx="3993">725000</cx:pt>
          <cx:pt idx="3994">725000</cx:pt>
          <cx:pt idx="3995">725000</cx:pt>
          <cx:pt idx="3996">725000</cx:pt>
          <cx:pt idx="3997">725000</cx:pt>
          <cx:pt idx="3998">725000</cx:pt>
          <cx:pt idx="3999">725000</cx:pt>
          <cx:pt idx="4000">725000</cx:pt>
          <cx:pt idx="4001">725000</cx:pt>
          <cx:pt idx="4002">725000</cx:pt>
          <cx:pt idx="4003">725000</cx:pt>
          <cx:pt idx="4004">725000</cx:pt>
          <cx:pt idx="4005">725000</cx:pt>
          <cx:pt idx="4006">725000</cx:pt>
          <cx:pt idx="4007">725000</cx:pt>
          <cx:pt idx="4008">725000</cx:pt>
          <cx:pt idx="4009">725000</cx:pt>
          <cx:pt idx="4010">725000</cx:pt>
          <cx:pt idx="4011">725000</cx:pt>
          <cx:pt idx="4012">725000</cx:pt>
          <cx:pt idx="4013">725000</cx:pt>
          <cx:pt idx="4014">725000</cx:pt>
          <cx:pt idx="4015">725000</cx:pt>
          <cx:pt idx="4016">725000</cx:pt>
          <cx:pt idx="4017">725000</cx:pt>
          <cx:pt idx="4018">725000</cx:pt>
          <cx:pt idx="4019">725000</cx:pt>
          <cx:pt idx="4020">725000</cx:pt>
          <cx:pt idx="4021">725000</cx:pt>
          <cx:pt idx="4022">725000</cx:pt>
          <cx:pt idx="4023">724950</cx:pt>
          <cx:pt idx="4024">724950</cx:pt>
          <cx:pt idx="4025">724950</cx:pt>
          <cx:pt idx="4026">724950</cx:pt>
          <cx:pt idx="4027">724800</cx:pt>
          <cx:pt idx="4028">724500</cx:pt>
          <cx:pt idx="4029">724000</cx:pt>
          <cx:pt idx="4030">723000</cx:pt>
          <cx:pt idx="4031">723000</cx:pt>
          <cx:pt idx="4032">723000</cx:pt>
          <cx:pt idx="4033">723000</cx:pt>
          <cx:pt idx="4034">723000</cx:pt>
          <cx:pt idx="4035">722800</cx:pt>
          <cx:pt idx="4036">722500</cx:pt>
          <cx:pt idx="4037">722500</cx:pt>
          <cx:pt idx="4038">722500</cx:pt>
          <cx:pt idx="4039">722500</cx:pt>
          <cx:pt idx="4040">722080</cx:pt>
          <cx:pt idx="4041">722000</cx:pt>
          <cx:pt idx="4042">722000</cx:pt>
          <cx:pt idx="4043">721500</cx:pt>
          <cx:pt idx="4044">721000</cx:pt>
          <cx:pt idx="4045">721000</cx:pt>
          <cx:pt idx="4046">721000</cx:pt>
          <cx:pt idx="4047">721000</cx:pt>
          <cx:pt idx="4048">721000</cx:pt>
          <cx:pt idx="4049">720500</cx:pt>
          <cx:pt idx="4050">720168</cx:pt>
          <cx:pt idx="4051">720001</cx:pt>
          <cx:pt idx="4052">720000</cx:pt>
          <cx:pt idx="4053">720000</cx:pt>
          <cx:pt idx="4054">720000</cx:pt>
          <cx:pt idx="4055">720000</cx:pt>
          <cx:pt idx="4056">720000</cx:pt>
          <cx:pt idx="4057">720000</cx:pt>
          <cx:pt idx="4058">720000</cx:pt>
          <cx:pt idx="4059">720000</cx:pt>
          <cx:pt idx="4060">720000</cx:pt>
          <cx:pt idx="4061">720000</cx:pt>
          <cx:pt idx="4062">720000</cx:pt>
          <cx:pt idx="4063">720000</cx:pt>
          <cx:pt idx="4064">720000</cx:pt>
          <cx:pt idx="4065">720000</cx:pt>
          <cx:pt idx="4066">720000</cx:pt>
          <cx:pt idx="4067">720000</cx:pt>
          <cx:pt idx="4068">720000</cx:pt>
          <cx:pt idx="4069">720000</cx:pt>
          <cx:pt idx="4070">720000</cx:pt>
          <cx:pt idx="4071">720000</cx:pt>
          <cx:pt idx="4072">720000</cx:pt>
          <cx:pt idx="4073">720000</cx:pt>
          <cx:pt idx="4074">720000</cx:pt>
          <cx:pt idx="4075">720000</cx:pt>
          <cx:pt idx="4076">720000</cx:pt>
          <cx:pt idx="4077">720000</cx:pt>
          <cx:pt idx="4078">720000</cx:pt>
          <cx:pt idx="4079">720000</cx:pt>
          <cx:pt idx="4080">720000</cx:pt>
          <cx:pt idx="4081">720000</cx:pt>
          <cx:pt idx="4082">720000</cx:pt>
          <cx:pt idx="4083">720000</cx:pt>
          <cx:pt idx="4084">720000</cx:pt>
          <cx:pt idx="4085">720000</cx:pt>
          <cx:pt idx="4086">720000</cx:pt>
          <cx:pt idx="4087">720000</cx:pt>
          <cx:pt idx="4088">720000</cx:pt>
          <cx:pt idx="4089">720000</cx:pt>
          <cx:pt idx="4090">719950</cx:pt>
          <cx:pt idx="4091">719950</cx:pt>
          <cx:pt idx="4092">719521</cx:pt>
          <cx:pt idx="4093">719000</cx:pt>
          <cx:pt idx="4094">719000</cx:pt>
          <cx:pt idx="4095">719000</cx:pt>
          <cx:pt idx="4096">719000</cx:pt>
          <cx:pt idx="4097">719000</cx:pt>
          <cx:pt idx="4098">719000</cx:pt>
          <cx:pt idx="4099">719000</cx:pt>
          <cx:pt idx="4100">719000</cx:pt>
          <cx:pt idx="4101">718500</cx:pt>
          <cx:pt idx="4102">718500</cx:pt>
          <cx:pt idx="4103">718500</cx:pt>
          <cx:pt idx="4104">718000</cx:pt>
          <cx:pt idx="4105">718000</cx:pt>
          <cx:pt idx="4106">718000</cx:pt>
          <cx:pt idx="4107">718000</cx:pt>
          <cx:pt idx="4108">718000</cx:pt>
          <cx:pt idx="4109">718000</cx:pt>
          <cx:pt idx="4110">718000</cx:pt>
          <cx:pt idx="4111">718000</cx:pt>
          <cx:pt idx="4112">717550</cx:pt>
          <cx:pt idx="4113">717500</cx:pt>
          <cx:pt idx="4114">717500</cx:pt>
          <cx:pt idx="4115">717000</cx:pt>
          <cx:pt idx="4116">717000</cx:pt>
          <cx:pt idx="4117">717000</cx:pt>
          <cx:pt idx="4118">717000</cx:pt>
          <cx:pt idx="4119">717000</cx:pt>
          <cx:pt idx="4120">716528</cx:pt>
          <cx:pt idx="4121">716500</cx:pt>
          <cx:pt idx="4122">716500</cx:pt>
          <cx:pt idx="4123">716500</cx:pt>
          <cx:pt idx="4124">716500</cx:pt>
          <cx:pt idx="4125">716125</cx:pt>
          <cx:pt idx="4126">716100</cx:pt>
          <cx:pt idx="4127">716000</cx:pt>
          <cx:pt idx="4128">716000</cx:pt>
          <cx:pt idx="4129">716000</cx:pt>
          <cx:pt idx="4130">716000</cx:pt>
          <cx:pt idx="4131">716000</cx:pt>
          <cx:pt idx="4132">715500</cx:pt>
          <cx:pt idx="4133">715000</cx:pt>
          <cx:pt idx="4134">715000</cx:pt>
          <cx:pt idx="4135">715000</cx:pt>
          <cx:pt idx="4136">715000</cx:pt>
          <cx:pt idx="4137">715000</cx:pt>
          <cx:pt idx="4138">715000</cx:pt>
          <cx:pt idx="4139">715000</cx:pt>
          <cx:pt idx="4140">715000</cx:pt>
          <cx:pt idx="4141">715000</cx:pt>
          <cx:pt idx="4142">715000</cx:pt>
          <cx:pt idx="4143">715000</cx:pt>
          <cx:pt idx="4144">715000</cx:pt>
          <cx:pt idx="4145">715000</cx:pt>
          <cx:pt idx="4146">715000</cx:pt>
          <cx:pt idx="4147">715000</cx:pt>
          <cx:pt idx="4148">715000</cx:pt>
          <cx:pt idx="4149">715000</cx:pt>
          <cx:pt idx="4150">715000</cx:pt>
          <cx:pt idx="4151">715000</cx:pt>
          <cx:pt idx="4152">715000</cx:pt>
          <cx:pt idx="4153">715000</cx:pt>
          <cx:pt idx="4154">715000</cx:pt>
          <cx:pt idx="4155">715000</cx:pt>
          <cx:pt idx="4156">715000</cx:pt>
          <cx:pt idx="4157">715000</cx:pt>
          <cx:pt idx="4158">715000</cx:pt>
          <cx:pt idx="4159">715000</cx:pt>
          <cx:pt idx="4160">715000</cx:pt>
          <cx:pt idx="4161">715000</cx:pt>
          <cx:pt idx="4162">715000</cx:pt>
          <cx:pt idx="4163">715000</cx:pt>
          <cx:pt idx="4164">715000</cx:pt>
          <cx:pt idx="4165">715000</cx:pt>
          <cx:pt idx="4166">715000</cx:pt>
          <cx:pt idx="4167">715000</cx:pt>
          <cx:pt idx="4168">715000</cx:pt>
          <cx:pt idx="4169">715000</cx:pt>
          <cx:pt idx="4170">715000</cx:pt>
          <cx:pt idx="4171">715000</cx:pt>
          <cx:pt idx="4172">714000</cx:pt>
          <cx:pt idx="4173">714000</cx:pt>
          <cx:pt idx="4174">713900</cx:pt>
          <cx:pt idx="4175">713500</cx:pt>
          <cx:pt idx="4176">713500</cx:pt>
          <cx:pt idx="4177">713414</cx:pt>
          <cx:pt idx="4178">713400</cx:pt>
          <cx:pt idx="4179">713250</cx:pt>
          <cx:pt idx="4180">713000</cx:pt>
          <cx:pt idx="4181">713000</cx:pt>
          <cx:pt idx="4182">713000</cx:pt>
          <cx:pt idx="4183">713000</cx:pt>
          <cx:pt idx="4184">712500</cx:pt>
          <cx:pt idx="4185">712500</cx:pt>
          <cx:pt idx="4186">712500</cx:pt>
          <cx:pt idx="4187">712500</cx:pt>
          <cx:pt idx="4188">712198</cx:pt>
          <cx:pt idx="4189">712000</cx:pt>
          <cx:pt idx="4190">712000</cx:pt>
          <cx:pt idx="4191">712000</cx:pt>
          <cx:pt idx="4192">712000</cx:pt>
          <cx:pt idx="4193">712000</cx:pt>
          <cx:pt idx="4194">712000</cx:pt>
          <cx:pt idx="4195">712000</cx:pt>
          <cx:pt idx="4196">712000</cx:pt>
          <cx:pt idx="4197">711800</cx:pt>
          <cx:pt idx="4198">711777</cx:pt>
          <cx:pt idx="4199">711600</cx:pt>
          <cx:pt idx="4200">711000</cx:pt>
          <cx:pt idx="4201">711000</cx:pt>
          <cx:pt idx="4202">711000</cx:pt>
          <cx:pt idx="4203">711000</cx:pt>
          <cx:pt idx="4204">710800</cx:pt>
          <cx:pt idx="4205">710500</cx:pt>
          <cx:pt idx="4206">710200</cx:pt>
          <cx:pt idx="4207">710000</cx:pt>
          <cx:pt idx="4208">710000</cx:pt>
          <cx:pt idx="4209">710000</cx:pt>
          <cx:pt idx="4210">710000</cx:pt>
          <cx:pt idx="4211">710000</cx:pt>
          <cx:pt idx="4212">710000</cx:pt>
          <cx:pt idx="4213">710000</cx:pt>
          <cx:pt idx="4214">710000</cx:pt>
          <cx:pt idx="4215">710000</cx:pt>
          <cx:pt idx="4216">710000</cx:pt>
          <cx:pt idx="4217">710000</cx:pt>
          <cx:pt idx="4218">710000</cx:pt>
          <cx:pt idx="4219">710000</cx:pt>
          <cx:pt idx="4220">710000</cx:pt>
          <cx:pt idx="4221">710000</cx:pt>
          <cx:pt idx="4222">710000</cx:pt>
          <cx:pt idx="4223">710000</cx:pt>
          <cx:pt idx="4224">710000</cx:pt>
          <cx:pt idx="4225">710000</cx:pt>
          <cx:pt idx="4226">710000</cx:pt>
          <cx:pt idx="4227">710000</cx:pt>
          <cx:pt idx="4228">710000</cx:pt>
          <cx:pt idx="4229">710000</cx:pt>
          <cx:pt idx="4230">710000</cx:pt>
          <cx:pt idx="4231">710000</cx:pt>
          <cx:pt idx="4232">710000</cx:pt>
          <cx:pt idx="4233">710000</cx:pt>
          <cx:pt idx="4234">710000</cx:pt>
          <cx:pt idx="4235">710000</cx:pt>
          <cx:pt idx="4236">710000</cx:pt>
          <cx:pt idx="4237">710000</cx:pt>
          <cx:pt idx="4238">710000</cx:pt>
          <cx:pt idx="4239">710000</cx:pt>
          <cx:pt idx="4240">710000</cx:pt>
          <cx:pt idx="4241">710000</cx:pt>
          <cx:pt idx="4242">710000</cx:pt>
          <cx:pt idx="4243">710000</cx:pt>
          <cx:pt idx="4244">710000</cx:pt>
          <cx:pt idx="4245">710000</cx:pt>
          <cx:pt idx="4246">710000</cx:pt>
          <cx:pt idx="4247">710000</cx:pt>
          <cx:pt idx="4248">709950</cx:pt>
          <cx:pt idx="4249">709050</cx:pt>
          <cx:pt idx="4250">709000</cx:pt>
          <cx:pt idx="4251">709000</cx:pt>
          <cx:pt idx="4252">709000</cx:pt>
          <cx:pt idx="4253">709000</cx:pt>
          <cx:pt idx="4254">708000</cx:pt>
          <cx:pt idx="4255">708000</cx:pt>
          <cx:pt idx="4256">708000</cx:pt>
          <cx:pt idx="4257">708000</cx:pt>
          <cx:pt idx="4258">707900</cx:pt>
          <cx:pt idx="4259">707500</cx:pt>
          <cx:pt idx="4260">707500</cx:pt>
          <cx:pt idx="4261">707000</cx:pt>
          <cx:pt idx="4262">707000</cx:pt>
          <cx:pt idx="4263">707000</cx:pt>
          <cx:pt idx="4264">707000</cx:pt>
          <cx:pt idx="4265">707000</cx:pt>
          <cx:pt idx="4266">707000</cx:pt>
          <cx:pt idx="4267">706000</cx:pt>
          <cx:pt idx="4268">706000</cx:pt>
          <cx:pt idx="4269">706000</cx:pt>
          <cx:pt idx="4270">706000</cx:pt>
          <cx:pt idx="4271">706000</cx:pt>
          <cx:pt idx="4272">705640</cx:pt>
          <cx:pt idx="4273">705380</cx:pt>
          <cx:pt idx="4274">705000</cx:pt>
          <cx:pt idx="4275">705000</cx:pt>
          <cx:pt idx="4276">705000</cx:pt>
          <cx:pt idx="4277">705000</cx:pt>
          <cx:pt idx="4278">705000</cx:pt>
          <cx:pt idx="4279">705000</cx:pt>
          <cx:pt idx="4280">705000</cx:pt>
          <cx:pt idx="4281">705000</cx:pt>
          <cx:pt idx="4282">705000</cx:pt>
          <cx:pt idx="4283">705000</cx:pt>
          <cx:pt idx="4284">705000</cx:pt>
          <cx:pt idx="4285">705000</cx:pt>
          <cx:pt idx="4286">705000</cx:pt>
          <cx:pt idx="4287">705000</cx:pt>
          <cx:pt idx="4288">705000</cx:pt>
          <cx:pt idx="4289">705000</cx:pt>
          <cx:pt idx="4290">705000</cx:pt>
          <cx:pt idx="4291">705000</cx:pt>
          <cx:pt idx="4292">705000</cx:pt>
          <cx:pt idx="4293">705000</cx:pt>
          <cx:pt idx="4294">705000</cx:pt>
          <cx:pt idx="4295">705000</cx:pt>
          <cx:pt idx="4296">705000</cx:pt>
          <cx:pt idx="4297">705000</cx:pt>
          <cx:pt idx="4298">705000</cx:pt>
          <cx:pt idx="4299">705000</cx:pt>
          <cx:pt idx="4300">705000</cx:pt>
          <cx:pt idx="4301">705000</cx:pt>
          <cx:pt idx="4302">705000</cx:pt>
          <cx:pt idx="4303">704300</cx:pt>
          <cx:pt idx="4304">704111</cx:pt>
          <cx:pt idx="4305">704000</cx:pt>
          <cx:pt idx="4306">704000</cx:pt>
          <cx:pt idx="4307">704000</cx:pt>
          <cx:pt idx="4308">703770</cx:pt>
          <cx:pt idx="4309">703300</cx:pt>
          <cx:pt idx="4310">703011</cx:pt>
          <cx:pt idx="4311">703000</cx:pt>
          <cx:pt idx="4312">702500</cx:pt>
          <cx:pt idx="4313">702000</cx:pt>
          <cx:pt idx="4314">702000</cx:pt>
          <cx:pt idx="4315">702000</cx:pt>
          <cx:pt idx="4316">702000</cx:pt>
          <cx:pt idx="4317">702000</cx:pt>
          <cx:pt idx="4318">701000</cx:pt>
          <cx:pt idx="4319">701000</cx:pt>
          <cx:pt idx="4320">701000</cx:pt>
          <cx:pt idx="4321">700500</cx:pt>
          <cx:pt idx="4322">700180</cx:pt>
          <cx:pt idx="4323">700000</cx:pt>
          <cx:pt idx="4324">700000</cx:pt>
          <cx:pt idx="4325">700000</cx:pt>
          <cx:pt idx="4326">700000</cx:pt>
          <cx:pt idx="4327">700000</cx:pt>
          <cx:pt idx="4328">700000</cx:pt>
          <cx:pt idx="4329">700000</cx:pt>
          <cx:pt idx="4330">700000</cx:pt>
          <cx:pt idx="4331">700000</cx:pt>
          <cx:pt idx="4332">700000</cx:pt>
          <cx:pt idx="4333">700000</cx:pt>
          <cx:pt idx="4334">700000</cx:pt>
          <cx:pt idx="4335">700000</cx:pt>
          <cx:pt idx="4336">700000</cx:pt>
          <cx:pt idx="4337">700000</cx:pt>
          <cx:pt idx="4338">700000</cx:pt>
          <cx:pt idx="4339">700000</cx:pt>
          <cx:pt idx="4340">700000</cx:pt>
          <cx:pt idx="4341">700000</cx:pt>
          <cx:pt idx="4342">700000</cx:pt>
          <cx:pt idx="4343">700000</cx:pt>
          <cx:pt idx="4344">700000</cx:pt>
          <cx:pt idx="4345">700000</cx:pt>
          <cx:pt idx="4346">700000</cx:pt>
          <cx:pt idx="4347">700000</cx:pt>
          <cx:pt idx="4348">700000</cx:pt>
          <cx:pt idx="4349">700000</cx:pt>
          <cx:pt idx="4350">700000</cx:pt>
          <cx:pt idx="4351">700000</cx:pt>
          <cx:pt idx="4352">700000</cx:pt>
          <cx:pt idx="4353">700000</cx:pt>
          <cx:pt idx="4354">700000</cx:pt>
          <cx:pt idx="4355">700000</cx:pt>
          <cx:pt idx="4356">700000</cx:pt>
          <cx:pt idx="4357">700000</cx:pt>
          <cx:pt idx="4358">700000</cx:pt>
          <cx:pt idx="4359">700000</cx:pt>
          <cx:pt idx="4360">700000</cx:pt>
          <cx:pt idx="4361">700000</cx:pt>
          <cx:pt idx="4362">700000</cx:pt>
          <cx:pt idx="4363">700000</cx:pt>
          <cx:pt idx="4364">700000</cx:pt>
          <cx:pt idx="4365">700000</cx:pt>
          <cx:pt idx="4366">700000</cx:pt>
          <cx:pt idx="4367">700000</cx:pt>
          <cx:pt idx="4368">700000</cx:pt>
          <cx:pt idx="4369">700000</cx:pt>
          <cx:pt idx="4370">700000</cx:pt>
          <cx:pt idx="4371">700000</cx:pt>
          <cx:pt idx="4372">700000</cx:pt>
          <cx:pt idx="4373">700000</cx:pt>
          <cx:pt idx="4374">700000</cx:pt>
          <cx:pt idx="4375">700000</cx:pt>
          <cx:pt idx="4376">700000</cx:pt>
          <cx:pt idx="4377">700000</cx:pt>
          <cx:pt idx="4378">700000</cx:pt>
          <cx:pt idx="4379">700000</cx:pt>
          <cx:pt idx="4380">700000</cx:pt>
          <cx:pt idx="4381">700000</cx:pt>
          <cx:pt idx="4382">700000</cx:pt>
          <cx:pt idx="4383">700000</cx:pt>
          <cx:pt idx="4384">700000</cx:pt>
          <cx:pt idx="4385">700000</cx:pt>
          <cx:pt idx="4386">700000</cx:pt>
          <cx:pt idx="4387">700000</cx:pt>
          <cx:pt idx="4388">700000</cx:pt>
          <cx:pt idx="4389">700000</cx:pt>
          <cx:pt idx="4390">700000</cx:pt>
          <cx:pt idx="4391">700000</cx:pt>
          <cx:pt idx="4392">700000</cx:pt>
          <cx:pt idx="4393">700000</cx:pt>
          <cx:pt idx="4394">700000</cx:pt>
          <cx:pt idx="4395">700000</cx:pt>
          <cx:pt idx="4396">700000</cx:pt>
          <cx:pt idx="4397">700000</cx:pt>
          <cx:pt idx="4398">700000</cx:pt>
          <cx:pt idx="4399">700000</cx:pt>
          <cx:pt idx="4400">700000</cx:pt>
          <cx:pt idx="4401">700000</cx:pt>
          <cx:pt idx="4402">700000</cx:pt>
          <cx:pt idx="4403">700000</cx:pt>
          <cx:pt idx="4404">700000</cx:pt>
          <cx:pt idx="4405">700000</cx:pt>
          <cx:pt idx="4406">700000</cx:pt>
          <cx:pt idx="4407">700000</cx:pt>
          <cx:pt idx="4408">700000</cx:pt>
          <cx:pt idx="4409">700000</cx:pt>
          <cx:pt idx="4410">700000</cx:pt>
          <cx:pt idx="4411">700000</cx:pt>
          <cx:pt idx="4412">699999</cx:pt>
          <cx:pt idx="4413">699999</cx:pt>
          <cx:pt idx="4414">699950</cx:pt>
          <cx:pt idx="4415">699950</cx:pt>
          <cx:pt idx="4416">699950</cx:pt>
          <cx:pt idx="4417">699950</cx:pt>
          <cx:pt idx="4418">699950</cx:pt>
          <cx:pt idx="4419">699950</cx:pt>
          <cx:pt idx="4420">699950</cx:pt>
          <cx:pt idx="4421">699900</cx:pt>
          <cx:pt idx="4422">699900</cx:pt>
          <cx:pt idx="4423">699900</cx:pt>
          <cx:pt idx="4424">699850</cx:pt>
          <cx:pt idx="4425">699800</cx:pt>
          <cx:pt idx="4426">699188</cx:pt>
          <cx:pt idx="4427">699000</cx:pt>
          <cx:pt idx="4428">699000</cx:pt>
          <cx:pt idx="4429">699000</cx:pt>
          <cx:pt idx="4430">699000</cx:pt>
          <cx:pt idx="4431">699000</cx:pt>
          <cx:pt idx="4432">699000</cx:pt>
          <cx:pt idx="4433">699000</cx:pt>
          <cx:pt idx="4434">699000</cx:pt>
          <cx:pt idx="4435">699000</cx:pt>
          <cx:pt idx="4436">699000</cx:pt>
          <cx:pt idx="4437">699000</cx:pt>
          <cx:pt idx="4438">699000</cx:pt>
          <cx:pt idx="4439">699000</cx:pt>
          <cx:pt idx="4440">699000</cx:pt>
          <cx:pt idx="4441">699000</cx:pt>
          <cx:pt idx="4442">699000</cx:pt>
          <cx:pt idx="4443">698000</cx:pt>
          <cx:pt idx="4444">698000</cx:pt>
          <cx:pt idx="4445">698000</cx:pt>
          <cx:pt idx="4446">698000</cx:pt>
          <cx:pt idx="4447">698000</cx:pt>
          <cx:pt idx="4448">698000</cx:pt>
          <cx:pt idx="4449">698000</cx:pt>
          <cx:pt idx="4450">698000</cx:pt>
          <cx:pt idx="4451">698000</cx:pt>
          <cx:pt idx="4452">697000</cx:pt>
          <cx:pt idx="4453">697000</cx:pt>
          <cx:pt idx="4454">697000</cx:pt>
          <cx:pt idx="4455">697000</cx:pt>
          <cx:pt idx="4456">697000</cx:pt>
          <cx:pt idx="4457">697000</cx:pt>
          <cx:pt idx="4458">696950</cx:pt>
          <cx:pt idx="4459">696500</cx:pt>
          <cx:pt idx="4460">696500</cx:pt>
          <cx:pt idx="4461">696000</cx:pt>
          <cx:pt idx="4462">696000</cx:pt>
          <cx:pt idx="4463">696000</cx:pt>
          <cx:pt idx="4464">696000</cx:pt>
          <cx:pt idx="4465">695500</cx:pt>
          <cx:pt idx="4466">695000</cx:pt>
          <cx:pt idx="4467">695000</cx:pt>
          <cx:pt idx="4468">695000</cx:pt>
          <cx:pt idx="4469">695000</cx:pt>
          <cx:pt idx="4470">695000</cx:pt>
          <cx:pt idx="4471">695000</cx:pt>
          <cx:pt idx="4472">695000</cx:pt>
          <cx:pt idx="4473">695000</cx:pt>
          <cx:pt idx="4474">695000</cx:pt>
          <cx:pt idx="4475">695000</cx:pt>
          <cx:pt idx="4476">695000</cx:pt>
          <cx:pt idx="4477">695000</cx:pt>
          <cx:pt idx="4478">695000</cx:pt>
          <cx:pt idx="4479">695000</cx:pt>
          <cx:pt idx="4480">695000</cx:pt>
          <cx:pt idx="4481">695000</cx:pt>
          <cx:pt idx="4482">695000</cx:pt>
          <cx:pt idx="4483">695000</cx:pt>
          <cx:pt idx="4484">695000</cx:pt>
          <cx:pt idx="4485">695000</cx:pt>
          <cx:pt idx="4486">695000</cx:pt>
          <cx:pt idx="4487">695000</cx:pt>
          <cx:pt idx="4488">695000</cx:pt>
          <cx:pt idx="4489">695000</cx:pt>
          <cx:pt idx="4490">695000</cx:pt>
          <cx:pt idx="4491">695000</cx:pt>
          <cx:pt idx="4492">695000</cx:pt>
          <cx:pt idx="4493">695000</cx:pt>
          <cx:pt idx="4494">695000</cx:pt>
          <cx:pt idx="4495">695000</cx:pt>
          <cx:pt idx="4496">695000</cx:pt>
          <cx:pt idx="4497">695000</cx:pt>
          <cx:pt idx="4498">695000</cx:pt>
          <cx:pt idx="4499">695000</cx:pt>
          <cx:pt idx="4500">695000</cx:pt>
          <cx:pt idx="4501">694000</cx:pt>
          <cx:pt idx="4502">693000</cx:pt>
          <cx:pt idx="4503">693000</cx:pt>
          <cx:pt idx="4504">693000</cx:pt>
          <cx:pt idx="4505">693000</cx:pt>
          <cx:pt idx="4506">693000</cx:pt>
          <cx:pt idx="4507">692500</cx:pt>
          <cx:pt idx="4508">692500</cx:pt>
          <cx:pt idx="4509">692500</cx:pt>
          <cx:pt idx="4510">692500</cx:pt>
          <cx:pt idx="4511">692500</cx:pt>
          <cx:pt idx="4512">692000</cx:pt>
          <cx:pt idx="4513">692000</cx:pt>
          <cx:pt idx="4514">691500</cx:pt>
          <cx:pt idx="4515">691100</cx:pt>
          <cx:pt idx="4516">691000</cx:pt>
          <cx:pt idx="4517">691000</cx:pt>
          <cx:pt idx="4518">691000</cx:pt>
          <cx:pt idx="4519">690700</cx:pt>
          <cx:pt idx="4520">690500</cx:pt>
          <cx:pt idx="4521">690500</cx:pt>
          <cx:pt idx="4522">690000</cx:pt>
          <cx:pt idx="4523">690000</cx:pt>
          <cx:pt idx="4524">690000</cx:pt>
          <cx:pt idx="4525">690000</cx:pt>
          <cx:pt idx="4526">690000</cx:pt>
          <cx:pt idx="4527">690000</cx:pt>
          <cx:pt idx="4528">690000</cx:pt>
          <cx:pt idx="4529">690000</cx:pt>
          <cx:pt idx="4530">690000</cx:pt>
          <cx:pt idx="4531">690000</cx:pt>
          <cx:pt idx="4532">690000</cx:pt>
          <cx:pt idx="4533">690000</cx:pt>
          <cx:pt idx="4534">690000</cx:pt>
          <cx:pt idx="4535">690000</cx:pt>
          <cx:pt idx="4536">690000</cx:pt>
          <cx:pt idx="4537">690000</cx:pt>
          <cx:pt idx="4538">690000</cx:pt>
          <cx:pt idx="4539">690000</cx:pt>
          <cx:pt idx="4540">690000</cx:pt>
          <cx:pt idx="4541">690000</cx:pt>
          <cx:pt idx="4542">690000</cx:pt>
          <cx:pt idx="4543">690000</cx:pt>
          <cx:pt idx="4544">690000</cx:pt>
          <cx:pt idx="4545">690000</cx:pt>
          <cx:pt idx="4546">690000</cx:pt>
          <cx:pt idx="4547">690000</cx:pt>
          <cx:pt idx="4548">690000</cx:pt>
          <cx:pt idx="4549">690000</cx:pt>
          <cx:pt idx="4550">690000</cx:pt>
          <cx:pt idx="4551">690000</cx:pt>
          <cx:pt idx="4552">690000</cx:pt>
          <cx:pt idx="4553">690000</cx:pt>
          <cx:pt idx="4554">690000</cx:pt>
          <cx:pt idx="4555">690000</cx:pt>
          <cx:pt idx="4556">690000</cx:pt>
          <cx:pt idx="4557">690000</cx:pt>
          <cx:pt idx="4558">690000</cx:pt>
          <cx:pt idx="4559">690000</cx:pt>
          <cx:pt idx="4560">690000</cx:pt>
          <cx:pt idx="4561">690000</cx:pt>
          <cx:pt idx="4562">690000</cx:pt>
          <cx:pt idx="4563">690000</cx:pt>
          <cx:pt idx="4564">690000</cx:pt>
          <cx:pt idx="4565">690000</cx:pt>
          <cx:pt idx="4566">689950</cx:pt>
          <cx:pt idx="4567">689900</cx:pt>
          <cx:pt idx="4568">689888</cx:pt>
          <cx:pt idx="4569">689800</cx:pt>
          <cx:pt idx="4570">689800</cx:pt>
          <cx:pt idx="4571">689500</cx:pt>
          <cx:pt idx="4572">689000</cx:pt>
          <cx:pt idx="4573">689000</cx:pt>
          <cx:pt idx="4574">689000</cx:pt>
          <cx:pt idx="4575">689000</cx:pt>
          <cx:pt idx="4576">689000</cx:pt>
          <cx:pt idx="4577">689000</cx:pt>
          <cx:pt idx="4578">689000</cx:pt>
          <cx:pt idx="4579">689000</cx:pt>
          <cx:pt idx="4580">689000</cx:pt>
          <cx:pt idx="4581">689000</cx:pt>
          <cx:pt idx="4582">688888</cx:pt>
          <cx:pt idx="4583">688500</cx:pt>
          <cx:pt idx="4584">688100</cx:pt>
          <cx:pt idx="4585">688000</cx:pt>
          <cx:pt idx="4586">688000</cx:pt>
          <cx:pt idx="4587">688000</cx:pt>
          <cx:pt idx="4588">688000</cx:pt>
          <cx:pt idx="4589">688000</cx:pt>
          <cx:pt idx="4590">688000</cx:pt>
          <cx:pt idx="4591">687500</cx:pt>
          <cx:pt idx="4592">687500</cx:pt>
          <cx:pt idx="4593">687500</cx:pt>
          <cx:pt idx="4594">687500</cx:pt>
          <cx:pt idx="4595">687500</cx:pt>
          <cx:pt idx="4596">687500</cx:pt>
          <cx:pt idx="4597">687015</cx:pt>
          <cx:pt idx="4598">687000</cx:pt>
          <cx:pt idx="4599">687000</cx:pt>
          <cx:pt idx="4600">686500</cx:pt>
          <cx:pt idx="4601">686000</cx:pt>
          <cx:pt idx="4602">686000</cx:pt>
          <cx:pt idx="4603">686000</cx:pt>
          <cx:pt idx="4604">685900</cx:pt>
          <cx:pt idx="4605">685650</cx:pt>
          <cx:pt idx="4606">685530</cx:pt>
          <cx:pt idx="4607">685100</cx:pt>
          <cx:pt idx="4608">685000</cx:pt>
          <cx:pt idx="4609">685000</cx:pt>
          <cx:pt idx="4610">685000</cx:pt>
          <cx:pt idx="4611">685000</cx:pt>
          <cx:pt idx="4612">685000</cx:pt>
          <cx:pt idx="4613">685000</cx:pt>
          <cx:pt idx="4614">685000</cx:pt>
          <cx:pt idx="4615">685000</cx:pt>
          <cx:pt idx="4616">685000</cx:pt>
          <cx:pt idx="4617">685000</cx:pt>
          <cx:pt idx="4618">685000</cx:pt>
          <cx:pt idx="4619">685000</cx:pt>
          <cx:pt idx="4620">685000</cx:pt>
          <cx:pt idx="4621">685000</cx:pt>
          <cx:pt idx="4622">685000</cx:pt>
          <cx:pt idx="4623">685000</cx:pt>
          <cx:pt idx="4624">685000</cx:pt>
          <cx:pt idx="4625">685000</cx:pt>
          <cx:pt idx="4626">685000</cx:pt>
          <cx:pt idx="4627">685000</cx:pt>
          <cx:pt idx="4628">685000</cx:pt>
          <cx:pt idx="4629">685000</cx:pt>
          <cx:pt idx="4630">685000</cx:pt>
          <cx:pt idx="4631">685000</cx:pt>
          <cx:pt idx="4632">685000</cx:pt>
          <cx:pt idx="4633">685000</cx:pt>
          <cx:pt idx="4634">685000</cx:pt>
          <cx:pt idx="4635">685000</cx:pt>
          <cx:pt idx="4636">685000</cx:pt>
          <cx:pt idx="4637">685000</cx:pt>
          <cx:pt idx="4638">685000</cx:pt>
          <cx:pt idx="4639">685000</cx:pt>
          <cx:pt idx="4640">685000</cx:pt>
          <cx:pt idx="4641">685000</cx:pt>
          <cx:pt idx="4642">685000</cx:pt>
          <cx:pt idx="4643">685000</cx:pt>
          <cx:pt idx="4644">685000</cx:pt>
          <cx:pt idx="4645">685000</cx:pt>
          <cx:pt idx="4646">685000</cx:pt>
          <cx:pt idx="4647">685000</cx:pt>
          <cx:pt idx="4648">685000</cx:pt>
          <cx:pt idx="4649">685000</cx:pt>
          <cx:pt idx="4650">685000</cx:pt>
          <cx:pt idx="4651">685000</cx:pt>
          <cx:pt idx="4652">684680</cx:pt>
          <cx:pt idx="4653">684000</cx:pt>
          <cx:pt idx="4654">684000</cx:pt>
          <cx:pt idx="4655">683500</cx:pt>
          <cx:pt idx="4656">683000</cx:pt>
          <cx:pt idx="4657">683000</cx:pt>
          <cx:pt idx="4658">683000</cx:pt>
          <cx:pt idx="4659">682500</cx:pt>
          <cx:pt idx="4660">682000</cx:pt>
          <cx:pt idx="4661">682000</cx:pt>
          <cx:pt idx="4662">682000</cx:pt>
          <cx:pt idx="4663">682000</cx:pt>
          <cx:pt idx="4664">682000</cx:pt>
          <cx:pt idx="4665">682000</cx:pt>
          <cx:pt idx="4666">682000</cx:pt>
          <cx:pt idx="4667">682000</cx:pt>
          <cx:pt idx="4668">682000</cx:pt>
          <cx:pt idx="4669">681716</cx:pt>
          <cx:pt idx="4670">681500</cx:pt>
          <cx:pt idx="4671">681000</cx:pt>
          <cx:pt idx="4672">681000</cx:pt>
          <cx:pt idx="4673">681000</cx:pt>
          <cx:pt idx="4674">680200</cx:pt>
          <cx:pt idx="4675">680000</cx:pt>
          <cx:pt idx="4676">680000</cx:pt>
          <cx:pt idx="4677">680000</cx:pt>
          <cx:pt idx="4678">680000</cx:pt>
          <cx:pt idx="4679">680000</cx:pt>
          <cx:pt idx="4680">680000</cx:pt>
          <cx:pt idx="4681">680000</cx:pt>
          <cx:pt idx="4682">680000</cx:pt>
          <cx:pt idx="4683">680000</cx:pt>
          <cx:pt idx="4684">680000</cx:pt>
          <cx:pt idx="4685">680000</cx:pt>
          <cx:pt idx="4686">680000</cx:pt>
          <cx:pt idx="4687">680000</cx:pt>
          <cx:pt idx="4688">680000</cx:pt>
          <cx:pt idx="4689">680000</cx:pt>
          <cx:pt idx="4690">680000</cx:pt>
          <cx:pt idx="4691">680000</cx:pt>
          <cx:pt idx="4692">680000</cx:pt>
          <cx:pt idx="4693">680000</cx:pt>
          <cx:pt idx="4694">680000</cx:pt>
          <cx:pt idx="4695">680000</cx:pt>
          <cx:pt idx="4696">680000</cx:pt>
          <cx:pt idx="4697">680000</cx:pt>
          <cx:pt idx="4698">680000</cx:pt>
          <cx:pt idx="4699">680000</cx:pt>
          <cx:pt idx="4700">680000</cx:pt>
          <cx:pt idx="4701">680000</cx:pt>
          <cx:pt idx="4702">680000</cx:pt>
          <cx:pt idx="4703">680000</cx:pt>
          <cx:pt idx="4704">680000</cx:pt>
          <cx:pt idx="4705">680000</cx:pt>
          <cx:pt idx="4706">680000</cx:pt>
          <cx:pt idx="4707">680000</cx:pt>
          <cx:pt idx="4708">680000</cx:pt>
          <cx:pt idx="4709">680000</cx:pt>
          <cx:pt idx="4710">680000</cx:pt>
          <cx:pt idx="4711">680000</cx:pt>
          <cx:pt idx="4712">680000</cx:pt>
          <cx:pt idx="4713">680000</cx:pt>
          <cx:pt idx="4714">680000</cx:pt>
          <cx:pt idx="4715">680000</cx:pt>
          <cx:pt idx="4716">680000</cx:pt>
          <cx:pt idx="4717">680000</cx:pt>
          <cx:pt idx="4718">680000</cx:pt>
          <cx:pt idx="4719">680000</cx:pt>
          <cx:pt idx="4720">680000</cx:pt>
          <cx:pt idx="4721">680000</cx:pt>
          <cx:pt idx="4722">680000</cx:pt>
          <cx:pt idx="4723">680000</cx:pt>
          <cx:pt idx="4724">680000</cx:pt>
          <cx:pt idx="4725">680000</cx:pt>
          <cx:pt idx="4726">680000</cx:pt>
          <cx:pt idx="4727">679990</cx:pt>
          <cx:pt idx="4728">679975</cx:pt>
          <cx:pt idx="4729">679950</cx:pt>
          <cx:pt idx="4730">679950</cx:pt>
          <cx:pt idx="4731">679950</cx:pt>
          <cx:pt idx="4732">679900</cx:pt>
          <cx:pt idx="4733">679000</cx:pt>
          <cx:pt idx="4734">679000</cx:pt>
          <cx:pt idx="4735">679000</cx:pt>
          <cx:pt idx="4736">679000</cx:pt>
          <cx:pt idx="4737">679000</cx:pt>
          <cx:pt idx="4738">679000</cx:pt>
          <cx:pt idx="4739">679000</cx:pt>
          <cx:pt idx="4740">679000</cx:pt>
          <cx:pt idx="4741">678940</cx:pt>
          <cx:pt idx="4742">678700</cx:pt>
          <cx:pt idx="4743">678500</cx:pt>
          <cx:pt idx="4744">678500</cx:pt>
          <cx:pt idx="4745">678500</cx:pt>
          <cx:pt idx="4746">678100</cx:pt>
          <cx:pt idx="4747">678000</cx:pt>
          <cx:pt idx="4748">678000</cx:pt>
          <cx:pt idx="4749">678000</cx:pt>
          <cx:pt idx="4750">678000</cx:pt>
          <cx:pt idx="4751">677915</cx:pt>
          <cx:pt idx="4752">677900</cx:pt>
          <cx:pt idx="4753">677790</cx:pt>
          <cx:pt idx="4754">677500</cx:pt>
          <cx:pt idx="4755">677500</cx:pt>
          <cx:pt idx="4756">677100</cx:pt>
          <cx:pt idx="4757">677000</cx:pt>
          <cx:pt idx="4758">677000</cx:pt>
          <cx:pt idx="4759">677000</cx:pt>
          <cx:pt idx="4760">676500</cx:pt>
          <cx:pt idx="4761">676101</cx:pt>
          <cx:pt idx="4762">676000</cx:pt>
          <cx:pt idx="4763">676000</cx:pt>
          <cx:pt idx="4764">676000</cx:pt>
          <cx:pt idx="4765">676000</cx:pt>
          <cx:pt idx="4766">675900</cx:pt>
          <cx:pt idx="4767">675750</cx:pt>
          <cx:pt idx="4768">675500</cx:pt>
          <cx:pt idx="4769">675000</cx:pt>
          <cx:pt idx="4770">675000</cx:pt>
          <cx:pt idx="4771">675000</cx:pt>
          <cx:pt idx="4772">675000</cx:pt>
          <cx:pt idx="4773">675000</cx:pt>
          <cx:pt idx="4774">675000</cx:pt>
          <cx:pt idx="4775">675000</cx:pt>
          <cx:pt idx="4776">675000</cx:pt>
          <cx:pt idx="4777">675000</cx:pt>
          <cx:pt idx="4778">675000</cx:pt>
          <cx:pt idx="4779">675000</cx:pt>
          <cx:pt idx="4780">675000</cx:pt>
          <cx:pt idx="4781">675000</cx:pt>
          <cx:pt idx="4782">675000</cx:pt>
          <cx:pt idx="4783">675000</cx:pt>
          <cx:pt idx="4784">675000</cx:pt>
          <cx:pt idx="4785">675000</cx:pt>
          <cx:pt idx="4786">675000</cx:pt>
          <cx:pt idx="4787">675000</cx:pt>
          <cx:pt idx="4788">675000</cx:pt>
          <cx:pt idx="4789">675000</cx:pt>
          <cx:pt idx="4790">675000</cx:pt>
          <cx:pt idx="4791">675000</cx:pt>
          <cx:pt idx="4792">675000</cx:pt>
          <cx:pt idx="4793">675000</cx:pt>
          <cx:pt idx="4794">675000</cx:pt>
          <cx:pt idx="4795">675000</cx:pt>
          <cx:pt idx="4796">675000</cx:pt>
          <cx:pt idx="4797">675000</cx:pt>
          <cx:pt idx="4798">675000</cx:pt>
          <cx:pt idx="4799">675000</cx:pt>
          <cx:pt idx="4800">675000</cx:pt>
          <cx:pt idx="4801">675000</cx:pt>
          <cx:pt idx="4802">675000</cx:pt>
          <cx:pt idx="4803">675000</cx:pt>
          <cx:pt idx="4804">675000</cx:pt>
          <cx:pt idx="4805">675000</cx:pt>
          <cx:pt idx="4806">675000</cx:pt>
          <cx:pt idx="4807">675000</cx:pt>
          <cx:pt idx="4808">675000</cx:pt>
          <cx:pt idx="4809">675000</cx:pt>
          <cx:pt idx="4810">675000</cx:pt>
          <cx:pt idx="4811">675000</cx:pt>
          <cx:pt idx="4812">675000</cx:pt>
          <cx:pt idx="4813">675000</cx:pt>
          <cx:pt idx="4814">675000</cx:pt>
          <cx:pt idx="4815">675000</cx:pt>
          <cx:pt idx="4816">675000</cx:pt>
          <cx:pt idx="4817">675000</cx:pt>
          <cx:pt idx="4818">675000</cx:pt>
          <cx:pt idx="4819">675000</cx:pt>
          <cx:pt idx="4820">675000</cx:pt>
          <cx:pt idx="4821">675000</cx:pt>
          <cx:pt idx="4822">675000</cx:pt>
          <cx:pt idx="4823">675000</cx:pt>
          <cx:pt idx="4824">675000</cx:pt>
          <cx:pt idx="4825">675000</cx:pt>
          <cx:pt idx="4826">675000</cx:pt>
          <cx:pt idx="4827">675000</cx:pt>
          <cx:pt idx="4828">675000</cx:pt>
          <cx:pt idx="4829">675000</cx:pt>
          <cx:pt idx="4830">675000</cx:pt>
          <cx:pt idx="4831">675000</cx:pt>
          <cx:pt idx="4832">675000</cx:pt>
          <cx:pt idx="4833">675000</cx:pt>
          <cx:pt idx="4834">675000</cx:pt>
          <cx:pt idx="4835">675000</cx:pt>
          <cx:pt idx="4836">675000</cx:pt>
          <cx:pt idx="4837">675000</cx:pt>
          <cx:pt idx="4838">675000</cx:pt>
          <cx:pt idx="4839">675000</cx:pt>
          <cx:pt idx="4840">674950</cx:pt>
          <cx:pt idx="4841">674950</cx:pt>
          <cx:pt idx="4842">674750</cx:pt>
          <cx:pt idx="4843">674725</cx:pt>
          <cx:pt idx="4844">674600</cx:pt>
          <cx:pt idx="4845">674250</cx:pt>
          <cx:pt idx="4846">674000</cx:pt>
          <cx:pt idx="4847">674000</cx:pt>
          <cx:pt idx="4848">674000</cx:pt>
          <cx:pt idx="4849">674000</cx:pt>
          <cx:pt idx="4850">673200</cx:pt>
          <cx:pt idx="4851">673000</cx:pt>
          <cx:pt idx="4852">673000</cx:pt>
          <cx:pt idx="4853">673000</cx:pt>
          <cx:pt idx="4854">673000</cx:pt>
          <cx:pt idx="4855">672800</cx:pt>
          <cx:pt idx="4856">672600</cx:pt>
          <cx:pt idx="4857">672500</cx:pt>
          <cx:pt idx="4858">672500</cx:pt>
          <cx:pt idx="4859">672500</cx:pt>
          <cx:pt idx="4860">672500</cx:pt>
          <cx:pt idx="4861">672500</cx:pt>
          <cx:pt idx="4862">672500</cx:pt>
          <cx:pt idx="4863">672500</cx:pt>
          <cx:pt idx="4864">672324</cx:pt>
          <cx:pt idx="4865">672000</cx:pt>
          <cx:pt idx="4866">672000</cx:pt>
          <cx:pt idx="4867">672000</cx:pt>
          <cx:pt idx="4868">672000</cx:pt>
          <cx:pt idx="4869">672000</cx:pt>
          <cx:pt idx="4870">671500</cx:pt>
          <cx:pt idx="4871">671500</cx:pt>
          <cx:pt idx="4872">671500</cx:pt>
          <cx:pt idx="4873">671300</cx:pt>
          <cx:pt idx="4874">671000</cx:pt>
          <cx:pt idx="4875">671000</cx:pt>
          <cx:pt idx="4876">670950</cx:pt>
          <cx:pt idx="4877">670500</cx:pt>
          <cx:pt idx="4878">670000</cx:pt>
          <cx:pt idx="4879">670000</cx:pt>
          <cx:pt idx="4880">670000</cx:pt>
          <cx:pt idx="4881">670000</cx:pt>
          <cx:pt idx="4882">670000</cx:pt>
          <cx:pt idx="4883">670000</cx:pt>
          <cx:pt idx="4884">670000</cx:pt>
          <cx:pt idx="4885">670000</cx:pt>
          <cx:pt idx="4886">670000</cx:pt>
          <cx:pt idx="4887">670000</cx:pt>
          <cx:pt idx="4888">670000</cx:pt>
          <cx:pt idx="4889">670000</cx:pt>
          <cx:pt idx="4890">670000</cx:pt>
          <cx:pt idx="4891">670000</cx:pt>
          <cx:pt idx="4892">670000</cx:pt>
          <cx:pt idx="4893">670000</cx:pt>
          <cx:pt idx="4894">670000</cx:pt>
          <cx:pt idx="4895">670000</cx:pt>
          <cx:pt idx="4896">670000</cx:pt>
          <cx:pt idx="4897">670000</cx:pt>
          <cx:pt idx="4898">670000</cx:pt>
          <cx:pt idx="4899">670000</cx:pt>
          <cx:pt idx="4900">670000</cx:pt>
          <cx:pt idx="4901">670000</cx:pt>
          <cx:pt idx="4902">670000</cx:pt>
          <cx:pt idx="4903">670000</cx:pt>
          <cx:pt idx="4904">670000</cx:pt>
          <cx:pt idx="4905">670000</cx:pt>
          <cx:pt idx="4906">670000</cx:pt>
          <cx:pt idx="4907">670000</cx:pt>
          <cx:pt idx="4908">670000</cx:pt>
          <cx:pt idx="4909">670000</cx:pt>
          <cx:pt idx="4910">670000</cx:pt>
          <cx:pt idx="4911">670000</cx:pt>
          <cx:pt idx="4912">669950</cx:pt>
          <cx:pt idx="4913">669950</cx:pt>
          <cx:pt idx="4914">669950</cx:pt>
          <cx:pt idx="4915">669888</cx:pt>
          <cx:pt idx="4916">669500</cx:pt>
          <cx:pt idx="4917">669000</cx:pt>
          <cx:pt idx="4918">669000</cx:pt>
          <cx:pt idx="4919">669000</cx:pt>
          <cx:pt idx="4920">669000</cx:pt>
          <cx:pt idx="4921">669000</cx:pt>
          <cx:pt idx="4922">668750</cx:pt>
          <cx:pt idx="4923">668500</cx:pt>
          <cx:pt idx="4924">668500</cx:pt>
          <cx:pt idx="4925">668000</cx:pt>
          <cx:pt idx="4926">668000</cx:pt>
          <cx:pt idx="4927">667750</cx:pt>
          <cx:pt idx="4928">667500</cx:pt>
          <cx:pt idx="4929">667500</cx:pt>
          <cx:pt idx="4930">667500</cx:pt>
          <cx:pt idx="4931">667500</cx:pt>
          <cx:pt idx="4932">667400</cx:pt>
          <cx:pt idx="4933">667000</cx:pt>
          <cx:pt idx="4934">667000</cx:pt>
          <cx:pt idx="4935">667000</cx:pt>
          <cx:pt idx="4936">667000</cx:pt>
          <cx:pt idx="4937">667000</cx:pt>
          <cx:pt idx="4938">667000</cx:pt>
          <cx:pt idx="4939">667000</cx:pt>
          <cx:pt idx="4940">667000</cx:pt>
          <cx:pt idx="4941">667000</cx:pt>
          <cx:pt idx="4942">666570</cx:pt>
          <cx:pt idx="4943">666500</cx:pt>
          <cx:pt idx="4944">666000</cx:pt>
          <cx:pt idx="4945">666000</cx:pt>
          <cx:pt idx="4946">666000</cx:pt>
          <cx:pt idx="4947">665900</cx:pt>
          <cx:pt idx="4948">665000</cx:pt>
          <cx:pt idx="4949">665000</cx:pt>
          <cx:pt idx="4950">665000</cx:pt>
          <cx:pt idx="4951">665000</cx:pt>
          <cx:pt idx="4952">665000</cx:pt>
          <cx:pt idx="4953">665000</cx:pt>
          <cx:pt idx="4954">665000</cx:pt>
          <cx:pt idx="4955">665000</cx:pt>
          <cx:pt idx="4956">665000</cx:pt>
          <cx:pt idx="4957">665000</cx:pt>
          <cx:pt idx="4958">665000</cx:pt>
          <cx:pt idx="4959">665000</cx:pt>
          <cx:pt idx="4960">665000</cx:pt>
          <cx:pt idx="4961">665000</cx:pt>
          <cx:pt idx="4962">665000</cx:pt>
          <cx:pt idx="4963">665000</cx:pt>
          <cx:pt idx="4964">665000</cx:pt>
          <cx:pt idx="4965">665000</cx:pt>
          <cx:pt idx="4966">665000</cx:pt>
          <cx:pt idx="4967">665000</cx:pt>
          <cx:pt idx="4968">665000</cx:pt>
          <cx:pt idx="4969">665000</cx:pt>
          <cx:pt idx="4970">665000</cx:pt>
          <cx:pt idx="4971">665000</cx:pt>
          <cx:pt idx="4972">665000</cx:pt>
          <cx:pt idx="4973">665000</cx:pt>
          <cx:pt idx="4974">665000</cx:pt>
          <cx:pt idx="4975">665000</cx:pt>
          <cx:pt idx="4976">665000</cx:pt>
          <cx:pt idx="4977">665000</cx:pt>
          <cx:pt idx="4978">665000</cx:pt>
          <cx:pt idx="4979">665000</cx:pt>
          <cx:pt idx="4980">665000</cx:pt>
          <cx:pt idx="4981">665000</cx:pt>
          <cx:pt idx="4982">665000</cx:pt>
          <cx:pt idx="4983">665000</cx:pt>
          <cx:pt idx="4984">665000</cx:pt>
          <cx:pt idx="4985">665000</cx:pt>
          <cx:pt idx="4986">665000</cx:pt>
          <cx:pt idx="4987">665000</cx:pt>
          <cx:pt idx="4988">665000</cx:pt>
          <cx:pt idx="4989">665000</cx:pt>
          <cx:pt idx="4990">665000</cx:pt>
          <cx:pt idx="4991">665000</cx:pt>
          <cx:pt idx="4992">665000</cx:pt>
          <cx:pt idx="4993">665000</cx:pt>
          <cx:pt idx="4994">665000</cx:pt>
          <cx:pt idx="4995">664950</cx:pt>
          <cx:pt idx="4996">664950</cx:pt>
          <cx:pt idx="4997">664500</cx:pt>
          <cx:pt idx="4998">664000</cx:pt>
          <cx:pt idx="4999">664000</cx:pt>
          <cx:pt idx="5000">664000</cx:pt>
          <cx:pt idx="5001">664000</cx:pt>
          <cx:pt idx="5002">664000</cx:pt>
          <cx:pt idx="5003">664000</cx:pt>
          <cx:pt idx="5004">663500</cx:pt>
          <cx:pt idx="5005">663000</cx:pt>
          <cx:pt idx="5006">663000</cx:pt>
          <cx:pt idx="5007">663000</cx:pt>
          <cx:pt idx="5008">663000</cx:pt>
          <cx:pt idx="5009">663000</cx:pt>
          <cx:pt idx="5010">662990</cx:pt>
          <cx:pt idx="5011">662700</cx:pt>
          <cx:pt idx="5012">662500</cx:pt>
          <cx:pt idx="5013">662500</cx:pt>
          <cx:pt idx="5014">662500</cx:pt>
          <cx:pt idx="5015">662000</cx:pt>
          <cx:pt idx="5016">661500</cx:pt>
          <cx:pt idx="5017">661254</cx:pt>
          <cx:pt idx="5018">661000</cx:pt>
          <cx:pt idx="5019">661000</cx:pt>
          <cx:pt idx="5020">661000</cx:pt>
          <cx:pt idx="5021">661000</cx:pt>
          <cx:pt idx="5022">661000</cx:pt>
          <cx:pt idx="5023">661000</cx:pt>
          <cx:pt idx="5024">661000</cx:pt>
          <cx:pt idx="5025">661000</cx:pt>
          <cx:pt idx="5026">660500</cx:pt>
          <cx:pt idx="5027">660500</cx:pt>
          <cx:pt idx="5028">660000</cx:pt>
          <cx:pt idx="5029">660000</cx:pt>
          <cx:pt idx="5030">660000</cx:pt>
          <cx:pt idx="5031">660000</cx:pt>
          <cx:pt idx="5032">660000</cx:pt>
          <cx:pt idx="5033">660000</cx:pt>
          <cx:pt idx="5034">660000</cx:pt>
          <cx:pt idx="5035">660000</cx:pt>
          <cx:pt idx="5036">660000</cx:pt>
          <cx:pt idx="5037">660000</cx:pt>
          <cx:pt idx="5038">660000</cx:pt>
          <cx:pt idx="5039">660000</cx:pt>
          <cx:pt idx="5040">660000</cx:pt>
          <cx:pt idx="5041">660000</cx:pt>
          <cx:pt idx="5042">660000</cx:pt>
          <cx:pt idx="5043">660000</cx:pt>
          <cx:pt idx="5044">660000</cx:pt>
          <cx:pt idx="5045">660000</cx:pt>
          <cx:pt idx="5046">660000</cx:pt>
          <cx:pt idx="5047">660000</cx:pt>
          <cx:pt idx="5048">660000</cx:pt>
          <cx:pt idx="5049">660000</cx:pt>
          <cx:pt idx="5050">660000</cx:pt>
          <cx:pt idx="5051">660000</cx:pt>
          <cx:pt idx="5052">660000</cx:pt>
          <cx:pt idx="5053">660000</cx:pt>
          <cx:pt idx="5054">660000</cx:pt>
          <cx:pt idx="5055">660000</cx:pt>
          <cx:pt idx="5056">660000</cx:pt>
          <cx:pt idx="5057">660000</cx:pt>
          <cx:pt idx="5058">660000</cx:pt>
          <cx:pt idx="5059">660000</cx:pt>
          <cx:pt idx="5060">660000</cx:pt>
          <cx:pt idx="5061">660000</cx:pt>
          <cx:pt idx="5062">660000</cx:pt>
          <cx:pt idx="5063">660000</cx:pt>
          <cx:pt idx="5064">660000</cx:pt>
          <cx:pt idx="5065">660000</cx:pt>
          <cx:pt idx="5066">660000</cx:pt>
          <cx:pt idx="5067">660000</cx:pt>
          <cx:pt idx="5068">660000</cx:pt>
          <cx:pt idx="5069">660000</cx:pt>
          <cx:pt idx="5070">660000</cx:pt>
          <cx:pt idx="5071">660000</cx:pt>
          <cx:pt idx="5072">660000</cx:pt>
          <cx:pt idx="5073">660000</cx:pt>
          <cx:pt idx="5074">660000</cx:pt>
          <cx:pt idx="5075">660000</cx:pt>
          <cx:pt idx="5076">660000</cx:pt>
          <cx:pt idx="5077">660000</cx:pt>
          <cx:pt idx="5078">660000</cx:pt>
          <cx:pt idx="5079">660000</cx:pt>
          <cx:pt idx="5080">659950</cx:pt>
          <cx:pt idx="5081">659950</cx:pt>
          <cx:pt idx="5082">659950</cx:pt>
          <cx:pt idx="5083">659950</cx:pt>
          <cx:pt idx="5084">659950</cx:pt>
          <cx:pt idx="5085">659500</cx:pt>
          <cx:pt idx="5086">659500</cx:pt>
          <cx:pt idx="5087">659000</cx:pt>
          <cx:pt idx="5088">659000</cx:pt>
          <cx:pt idx="5089">659000</cx:pt>
          <cx:pt idx="5090">659000</cx:pt>
          <cx:pt idx="5091">659000</cx:pt>
          <cx:pt idx="5092">659000</cx:pt>
          <cx:pt idx="5093">659000</cx:pt>
          <cx:pt idx="5094">659000</cx:pt>
          <cx:pt idx="5095">659000</cx:pt>
          <cx:pt idx="5096">659000</cx:pt>
          <cx:pt idx="5097">658600</cx:pt>
          <cx:pt idx="5098">658588</cx:pt>
          <cx:pt idx="5099">658500</cx:pt>
          <cx:pt idx="5100">658500</cx:pt>
          <cx:pt idx="5101">658100</cx:pt>
          <cx:pt idx="5102">658000</cx:pt>
          <cx:pt idx="5103">658000</cx:pt>
          <cx:pt idx="5104">658000</cx:pt>
          <cx:pt idx="5105">658000</cx:pt>
          <cx:pt idx="5106">657500</cx:pt>
          <cx:pt idx="5107">657500</cx:pt>
          <cx:pt idx="5108">657500</cx:pt>
          <cx:pt idx="5109">657500</cx:pt>
          <cx:pt idx="5110">657500</cx:pt>
          <cx:pt idx="5111">657500</cx:pt>
          <cx:pt idx="5112">657500</cx:pt>
          <cx:pt idx="5113">657100</cx:pt>
          <cx:pt idx="5114">657044</cx:pt>
          <cx:pt idx="5115">657000</cx:pt>
          <cx:pt idx="5116">657000</cx:pt>
          <cx:pt idx="5117">657000</cx:pt>
          <cx:pt idx="5118">657000</cx:pt>
          <cx:pt idx="5119">657000</cx:pt>
          <cx:pt idx="5120">657000</cx:pt>
          <cx:pt idx="5121">656500</cx:pt>
          <cx:pt idx="5122">656000</cx:pt>
          <cx:pt idx="5123">656000</cx:pt>
          <cx:pt idx="5124">656000</cx:pt>
          <cx:pt idx="5125">655500</cx:pt>
          <cx:pt idx="5126">655500</cx:pt>
          <cx:pt idx="5127">655275</cx:pt>
          <cx:pt idx="5128">655100</cx:pt>
          <cx:pt idx="5129">655000</cx:pt>
          <cx:pt idx="5130">655000</cx:pt>
          <cx:pt idx="5131">655000</cx:pt>
          <cx:pt idx="5132">655000</cx:pt>
          <cx:pt idx="5133">655000</cx:pt>
          <cx:pt idx="5134">655000</cx:pt>
          <cx:pt idx="5135">655000</cx:pt>
          <cx:pt idx="5136">655000</cx:pt>
          <cx:pt idx="5137">655000</cx:pt>
          <cx:pt idx="5138">655000</cx:pt>
          <cx:pt idx="5139">655000</cx:pt>
          <cx:pt idx="5140">655000</cx:pt>
          <cx:pt idx="5141">655000</cx:pt>
          <cx:pt idx="5142">655000</cx:pt>
          <cx:pt idx="5143">655000</cx:pt>
          <cx:pt idx="5144">655000</cx:pt>
          <cx:pt idx="5145">655000</cx:pt>
          <cx:pt idx="5146">655000</cx:pt>
          <cx:pt idx="5147">655000</cx:pt>
          <cx:pt idx="5148">655000</cx:pt>
          <cx:pt idx="5149">655000</cx:pt>
          <cx:pt idx="5150">655000</cx:pt>
          <cx:pt idx="5151">655000</cx:pt>
          <cx:pt idx="5152">655000</cx:pt>
          <cx:pt idx="5153">655000</cx:pt>
          <cx:pt idx="5154">655000</cx:pt>
          <cx:pt idx="5155">655000</cx:pt>
          <cx:pt idx="5156">655000</cx:pt>
          <cx:pt idx="5157">655000</cx:pt>
          <cx:pt idx="5158">655000</cx:pt>
          <cx:pt idx="5159">655000</cx:pt>
          <cx:pt idx="5160">655000</cx:pt>
          <cx:pt idx="5161">654950</cx:pt>
          <cx:pt idx="5162">654500</cx:pt>
          <cx:pt idx="5163">654300</cx:pt>
          <cx:pt idx="5164">654000</cx:pt>
          <cx:pt idx="5165">654000</cx:pt>
          <cx:pt idx="5166">654000</cx:pt>
          <cx:pt idx="5167">654000</cx:pt>
          <cx:pt idx="5168">654000</cx:pt>
          <cx:pt idx="5169">654000</cx:pt>
          <cx:pt idx="5170">653750</cx:pt>
          <cx:pt idx="5171">653675</cx:pt>
          <cx:pt idx="5172">653500</cx:pt>
          <cx:pt idx="5173">653450</cx:pt>
          <cx:pt idx="5174">653000</cx:pt>
          <cx:pt idx="5175">653000</cx:pt>
          <cx:pt idx="5176">653000</cx:pt>
          <cx:pt idx="5177">653000</cx:pt>
          <cx:pt idx="5178">653000</cx:pt>
          <cx:pt idx="5179">653000</cx:pt>
          <cx:pt idx="5180">653000</cx:pt>
          <cx:pt idx="5181">653000</cx:pt>
          <cx:pt idx="5182">653000</cx:pt>
          <cx:pt idx="5183">652600</cx:pt>
          <cx:pt idx="5184">652500</cx:pt>
          <cx:pt idx="5185">652500</cx:pt>
          <cx:pt idx="5186">652500</cx:pt>
          <cx:pt idx="5187">652500</cx:pt>
          <cx:pt idx="5188">652450</cx:pt>
          <cx:pt idx="5189">652427</cx:pt>
          <cx:pt idx="5190">652100</cx:pt>
          <cx:pt idx="5191">652000</cx:pt>
          <cx:pt idx="5192">652000</cx:pt>
          <cx:pt idx="5193">652000</cx:pt>
          <cx:pt idx="5194">652000</cx:pt>
          <cx:pt idx="5195">651500</cx:pt>
          <cx:pt idx="5196">651100</cx:pt>
          <cx:pt idx="5197">651000</cx:pt>
          <cx:pt idx="5198">651000</cx:pt>
          <cx:pt idx="5199">651000</cx:pt>
          <cx:pt idx="5200">651000</cx:pt>
          <cx:pt idx="5201">651000</cx:pt>
          <cx:pt idx="5202">650880</cx:pt>
          <cx:pt idx="5203">650500</cx:pt>
          <cx:pt idx="5204">650500</cx:pt>
          <cx:pt idx="5205">650500</cx:pt>
          <cx:pt idx="5206">650100</cx:pt>
          <cx:pt idx="5207">650000</cx:pt>
          <cx:pt idx="5208">650000</cx:pt>
          <cx:pt idx="5209">650000</cx:pt>
          <cx:pt idx="5210">650000</cx:pt>
          <cx:pt idx="5211">650000</cx:pt>
          <cx:pt idx="5212">650000</cx:pt>
          <cx:pt idx="5213">650000</cx:pt>
          <cx:pt idx="5214">650000</cx:pt>
          <cx:pt idx="5215">650000</cx:pt>
          <cx:pt idx="5216">650000</cx:pt>
          <cx:pt idx="5217">650000</cx:pt>
          <cx:pt idx="5218">650000</cx:pt>
          <cx:pt idx="5219">650000</cx:pt>
          <cx:pt idx="5220">650000</cx:pt>
          <cx:pt idx="5221">650000</cx:pt>
          <cx:pt idx="5222">650000</cx:pt>
          <cx:pt idx="5223">650000</cx:pt>
          <cx:pt idx="5224">650000</cx:pt>
          <cx:pt idx="5225">650000</cx:pt>
          <cx:pt idx="5226">650000</cx:pt>
          <cx:pt idx="5227">650000</cx:pt>
          <cx:pt idx="5228">650000</cx:pt>
          <cx:pt idx="5229">650000</cx:pt>
          <cx:pt idx="5230">650000</cx:pt>
          <cx:pt idx="5231">650000</cx:pt>
          <cx:pt idx="5232">650000</cx:pt>
          <cx:pt idx="5233">650000</cx:pt>
          <cx:pt idx="5234">650000</cx:pt>
          <cx:pt idx="5235">650000</cx:pt>
          <cx:pt idx="5236">650000</cx:pt>
          <cx:pt idx="5237">650000</cx:pt>
          <cx:pt idx="5238">650000</cx:pt>
          <cx:pt idx="5239">650000</cx:pt>
          <cx:pt idx="5240">650000</cx:pt>
          <cx:pt idx="5241">650000</cx:pt>
          <cx:pt idx="5242">650000</cx:pt>
          <cx:pt idx="5243">650000</cx:pt>
          <cx:pt idx="5244">650000</cx:pt>
          <cx:pt idx="5245">650000</cx:pt>
          <cx:pt idx="5246">650000</cx:pt>
          <cx:pt idx="5247">650000</cx:pt>
          <cx:pt idx="5248">650000</cx:pt>
          <cx:pt idx="5249">650000</cx:pt>
          <cx:pt idx="5250">650000</cx:pt>
          <cx:pt idx="5251">650000</cx:pt>
          <cx:pt idx="5252">650000</cx:pt>
          <cx:pt idx="5253">650000</cx:pt>
          <cx:pt idx="5254">650000</cx:pt>
          <cx:pt idx="5255">650000</cx:pt>
          <cx:pt idx="5256">650000</cx:pt>
          <cx:pt idx="5257">650000</cx:pt>
          <cx:pt idx="5258">650000</cx:pt>
          <cx:pt idx="5259">650000</cx:pt>
          <cx:pt idx="5260">650000</cx:pt>
          <cx:pt idx="5261">650000</cx:pt>
          <cx:pt idx="5262">650000</cx:pt>
          <cx:pt idx="5263">650000</cx:pt>
          <cx:pt idx="5264">650000</cx:pt>
          <cx:pt idx="5265">650000</cx:pt>
          <cx:pt idx="5266">650000</cx:pt>
          <cx:pt idx="5267">650000</cx:pt>
          <cx:pt idx="5268">650000</cx:pt>
          <cx:pt idx="5269">650000</cx:pt>
          <cx:pt idx="5270">650000</cx:pt>
          <cx:pt idx="5271">650000</cx:pt>
          <cx:pt idx="5272">650000</cx:pt>
          <cx:pt idx="5273">650000</cx:pt>
          <cx:pt idx="5274">650000</cx:pt>
          <cx:pt idx="5275">650000</cx:pt>
          <cx:pt idx="5276">650000</cx:pt>
          <cx:pt idx="5277">650000</cx:pt>
          <cx:pt idx="5278">650000</cx:pt>
          <cx:pt idx="5279">650000</cx:pt>
          <cx:pt idx="5280">650000</cx:pt>
          <cx:pt idx="5281">650000</cx:pt>
          <cx:pt idx="5282">650000</cx:pt>
          <cx:pt idx="5283">650000</cx:pt>
          <cx:pt idx="5284">650000</cx:pt>
          <cx:pt idx="5285">650000</cx:pt>
          <cx:pt idx="5286">650000</cx:pt>
          <cx:pt idx="5287">650000</cx:pt>
          <cx:pt idx="5288">650000</cx:pt>
          <cx:pt idx="5289">650000</cx:pt>
          <cx:pt idx="5290">650000</cx:pt>
          <cx:pt idx="5291">650000</cx:pt>
          <cx:pt idx="5292">650000</cx:pt>
          <cx:pt idx="5293">650000</cx:pt>
          <cx:pt idx="5294">650000</cx:pt>
          <cx:pt idx="5295">650000</cx:pt>
          <cx:pt idx="5296">650000</cx:pt>
          <cx:pt idx="5297">650000</cx:pt>
          <cx:pt idx="5298">650000</cx:pt>
          <cx:pt idx="5299">650000</cx:pt>
          <cx:pt idx="5300">650000</cx:pt>
          <cx:pt idx="5301">650000</cx:pt>
          <cx:pt idx="5302">650000</cx:pt>
          <cx:pt idx="5303">650000</cx:pt>
          <cx:pt idx="5304">650000</cx:pt>
          <cx:pt idx="5305">650000</cx:pt>
          <cx:pt idx="5306">650000</cx:pt>
          <cx:pt idx="5307">650000</cx:pt>
          <cx:pt idx="5308">650000</cx:pt>
          <cx:pt idx="5309">650000</cx:pt>
          <cx:pt idx="5310">650000</cx:pt>
          <cx:pt idx="5311">650000</cx:pt>
          <cx:pt idx="5312">650000</cx:pt>
          <cx:pt idx="5313">650000</cx:pt>
          <cx:pt idx="5314">650000</cx:pt>
          <cx:pt idx="5315">650000</cx:pt>
          <cx:pt idx="5316">650000</cx:pt>
          <cx:pt idx="5317">650000</cx:pt>
          <cx:pt idx="5318">650000</cx:pt>
          <cx:pt idx="5319">650000</cx:pt>
          <cx:pt idx="5320">650000</cx:pt>
          <cx:pt idx="5321">650000</cx:pt>
          <cx:pt idx="5322">650000</cx:pt>
          <cx:pt idx="5323">650000</cx:pt>
          <cx:pt idx="5324">649990</cx:pt>
          <cx:pt idx="5325">649950</cx:pt>
          <cx:pt idx="5326">649950</cx:pt>
          <cx:pt idx="5327">649950</cx:pt>
          <cx:pt idx="5328">649950</cx:pt>
          <cx:pt idx="5329">649950</cx:pt>
          <cx:pt idx="5330">649950</cx:pt>
          <cx:pt idx="5331">649950</cx:pt>
          <cx:pt idx="5332">649950</cx:pt>
          <cx:pt idx="5333">649950</cx:pt>
          <cx:pt idx="5334">649800</cx:pt>
          <cx:pt idx="5335">649500</cx:pt>
          <cx:pt idx="5336">649500</cx:pt>
          <cx:pt idx="5337">649000</cx:pt>
          <cx:pt idx="5338">649000</cx:pt>
          <cx:pt idx="5339">649000</cx:pt>
          <cx:pt idx="5340">649000</cx:pt>
          <cx:pt idx="5341">649000</cx:pt>
          <cx:pt idx="5342">649000</cx:pt>
          <cx:pt idx="5343">649000</cx:pt>
          <cx:pt idx="5344">649000</cx:pt>
          <cx:pt idx="5345">649000</cx:pt>
          <cx:pt idx="5346">649000</cx:pt>
          <cx:pt idx="5347">649000</cx:pt>
          <cx:pt idx="5348">649000</cx:pt>
          <cx:pt idx="5349">648752</cx:pt>
          <cx:pt idx="5350">648475</cx:pt>
          <cx:pt idx="5351">648360</cx:pt>
          <cx:pt idx="5352">648000</cx:pt>
          <cx:pt idx="5353">648000</cx:pt>
          <cx:pt idx="5354">648000</cx:pt>
          <cx:pt idx="5355">648000</cx:pt>
          <cx:pt idx="5356">648000</cx:pt>
          <cx:pt idx="5357">648000</cx:pt>
          <cx:pt idx="5358">648000</cx:pt>
          <cx:pt idx="5359">648000</cx:pt>
          <cx:pt idx="5360">647500</cx:pt>
          <cx:pt idx="5361">647500</cx:pt>
          <cx:pt idx="5362">647500</cx:pt>
          <cx:pt idx="5363">647000</cx:pt>
          <cx:pt idx="5364">647000</cx:pt>
          <cx:pt idx="5365">646800</cx:pt>
          <cx:pt idx="5366">646000</cx:pt>
          <cx:pt idx="5367">646000</cx:pt>
          <cx:pt idx="5368">646000</cx:pt>
          <cx:pt idx="5369">646000</cx:pt>
          <cx:pt idx="5370">645500</cx:pt>
          <cx:pt idx="5371">645500</cx:pt>
          <cx:pt idx="5372">645500</cx:pt>
          <cx:pt idx="5373">645000</cx:pt>
          <cx:pt idx="5374">645000</cx:pt>
          <cx:pt idx="5375">645000</cx:pt>
          <cx:pt idx="5376">645000</cx:pt>
          <cx:pt idx="5377">645000</cx:pt>
          <cx:pt idx="5378">645000</cx:pt>
          <cx:pt idx="5379">645000</cx:pt>
          <cx:pt idx="5380">645000</cx:pt>
          <cx:pt idx="5381">645000</cx:pt>
          <cx:pt idx="5382">645000</cx:pt>
          <cx:pt idx="5383">645000</cx:pt>
          <cx:pt idx="5384">645000</cx:pt>
          <cx:pt idx="5385">645000</cx:pt>
          <cx:pt idx="5386">645000</cx:pt>
          <cx:pt idx="5387">645000</cx:pt>
          <cx:pt idx="5388">645000</cx:pt>
          <cx:pt idx="5389">645000</cx:pt>
          <cx:pt idx="5390">645000</cx:pt>
          <cx:pt idx="5391">645000</cx:pt>
          <cx:pt idx="5392">645000</cx:pt>
          <cx:pt idx="5393">645000</cx:pt>
          <cx:pt idx="5394">645000</cx:pt>
          <cx:pt idx="5395">645000</cx:pt>
          <cx:pt idx="5396">645000</cx:pt>
          <cx:pt idx="5397">645000</cx:pt>
          <cx:pt idx="5398">645000</cx:pt>
          <cx:pt idx="5399">645000</cx:pt>
          <cx:pt idx="5400">645000</cx:pt>
          <cx:pt idx="5401">645000</cx:pt>
          <cx:pt idx="5402">645000</cx:pt>
          <cx:pt idx="5403">645000</cx:pt>
          <cx:pt idx="5404">645000</cx:pt>
          <cx:pt idx="5405">645000</cx:pt>
          <cx:pt idx="5406">645000</cx:pt>
          <cx:pt idx="5407">645000</cx:pt>
          <cx:pt idx="5408">645000</cx:pt>
          <cx:pt idx="5409">645000</cx:pt>
          <cx:pt idx="5410">645000</cx:pt>
          <cx:pt idx="5411">645000</cx:pt>
          <cx:pt idx="5412">645000</cx:pt>
          <cx:pt idx="5413">644500</cx:pt>
          <cx:pt idx="5414">644000</cx:pt>
          <cx:pt idx="5415">643950</cx:pt>
          <cx:pt idx="5416">643500</cx:pt>
          <cx:pt idx="5417">643500</cx:pt>
          <cx:pt idx="5418">643403</cx:pt>
          <cx:pt idx="5419">643002</cx:pt>
          <cx:pt idx="5420">643000</cx:pt>
          <cx:pt idx="5421">643000</cx:pt>
          <cx:pt idx="5422">643000</cx:pt>
          <cx:pt idx="5423">643000</cx:pt>
          <cx:pt idx="5424">642860</cx:pt>
          <cx:pt idx="5425">642450</cx:pt>
          <cx:pt idx="5426">642000</cx:pt>
          <cx:pt idx="5427">642000</cx:pt>
          <cx:pt idx="5428">642000</cx:pt>
          <cx:pt idx="5429">642000</cx:pt>
          <cx:pt idx="5430">641500</cx:pt>
          <cx:pt idx="5431">641250</cx:pt>
          <cx:pt idx="5432">641200</cx:pt>
          <cx:pt idx="5433">641000</cx:pt>
          <cx:pt idx="5434">641000</cx:pt>
          <cx:pt idx="5435">641000</cx:pt>
          <cx:pt idx="5436">641000</cx:pt>
          <cx:pt idx="5437">641000</cx:pt>
          <cx:pt idx="5438">641000</cx:pt>
          <cx:pt idx="5439">641000</cx:pt>
          <cx:pt idx="5440">641000</cx:pt>
          <cx:pt idx="5441">640500</cx:pt>
          <cx:pt idx="5442">640500</cx:pt>
          <cx:pt idx="5443">640000</cx:pt>
          <cx:pt idx="5444">640000</cx:pt>
          <cx:pt idx="5445">640000</cx:pt>
          <cx:pt idx="5446">640000</cx:pt>
          <cx:pt idx="5447">640000</cx:pt>
          <cx:pt idx="5448">640000</cx:pt>
          <cx:pt idx="5449">640000</cx:pt>
          <cx:pt idx="5450">640000</cx:pt>
          <cx:pt idx="5451">640000</cx:pt>
          <cx:pt idx="5452">640000</cx:pt>
          <cx:pt idx="5453">640000</cx:pt>
          <cx:pt idx="5454">640000</cx:pt>
          <cx:pt idx="5455">640000</cx:pt>
          <cx:pt idx="5456">640000</cx:pt>
          <cx:pt idx="5457">640000</cx:pt>
          <cx:pt idx="5458">640000</cx:pt>
          <cx:pt idx="5459">640000</cx:pt>
          <cx:pt idx="5460">640000</cx:pt>
          <cx:pt idx="5461">640000</cx:pt>
          <cx:pt idx="5462">640000</cx:pt>
          <cx:pt idx="5463">640000</cx:pt>
          <cx:pt idx="5464">640000</cx:pt>
          <cx:pt idx="5465">640000</cx:pt>
          <cx:pt idx="5466">640000</cx:pt>
          <cx:pt idx="5467">640000</cx:pt>
          <cx:pt idx="5468">640000</cx:pt>
          <cx:pt idx="5469">640000</cx:pt>
          <cx:pt idx="5470">640000</cx:pt>
          <cx:pt idx="5471">640000</cx:pt>
          <cx:pt idx="5472">640000</cx:pt>
          <cx:pt idx="5473">640000</cx:pt>
          <cx:pt idx="5474">640000</cx:pt>
          <cx:pt idx="5475">640000</cx:pt>
          <cx:pt idx="5476">640000</cx:pt>
          <cx:pt idx="5477">640000</cx:pt>
          <cx:pt idx="5478">640000</cx:pt>
          <cx:pt idx="5479">640000</cx:pt>
          <cx:pt idx="5480">640000</cx:pt>
          <cx:pt idx="5481">640000</cx:pt>
          <cx:pt idx="5482">640000</cx:pt>
          <cx:pt idx="5483">640000</cx:pt>
          <cx:pt idx="5484">640000</cx:pt>
          <cx:pt idx="5485">640000</cx:pt>
          <cx:pt idx="5486">640000</cx:pt>
          <cx:pt idx="5487">640000</cx:pt>
          <cx:pt idx="5488">640000</cx:pt>
          <cx:pt idx="5489">640000</cx:pt>
          <cx:pt idx="5490">640000</cx:pt>
          <cx:pt idx="5491">640000</cx:pt>
          <cx:pt idx="5492">640000</cx:pt>
          <cx:pt idx="5493">640000</cx:pt>
          <cx:pt idx="5494">640000</cx:pt>
          <cx:pt idx="5495">639983</cx:pt>
          <cx:pt idx="5496">639950</cx:pt>
          <cx:pt idx="5497">639900</cx:pt>
          <cx:pt idx="5498">639900</cx:pt>
          <cx:pt idx="5499">639888</cx:pt>
          <cx:pt idx="5500">639500</cx:pt>
          <cx:pt idx="5501">639500</cx:pt>
          <cx:pt idx="5502">639000</cx:pt>
          <cx:pt idx="5503">639000</cx:pt>
          <cx:pt idx="5504">639000</cx:pt>
          <cx:pt idx="5505">639000</cx:pt>
          <cx:pt idx="5506">639000</cx:pt>
          <cx:pt idx="5507">639000</cx:pt>
          <cx:pt idx="5508">639000</cx:pt>
          <cx:pt idx="5509">639000</cx:pt>
          <cx:pt idx="5510">639000</cx:pt>
          <cx:pt idx="5511">638700</cx:pt>
          <cx:pt idx="5512">638500</cx:pt>
          <cx:pt idx="5513">638500</cx:pt>
          <cx:pt idx="5514">638250</cx:pt>
          <cx:pt idx="5515">638150</cx:pt>
          <cx:pt idx="5516">638000</cx:pt>
          <cx:pt idx="5517">638000</cx:pt>
          <cx:pt idx="5518">638000</cx:pt>
          <cx:pt idx="5519">638000</cx:pt>
          <cx:pt idx="5520">638000</cx:pt>
          <cx:pt idx="5521">638000</cx:pt>
          <cx:pt idx="5522">637850</cx:pt>
          <cx:pt idx="5523">637800</cx:pt>
          <cx:pt idx="5524">637500</cx:pt>
          <cx:pt idx="5525">637500</cx:pt>
          <cx:pt idx="5526">637250</cx:pt>
          <cx:pt idx="5527">637000</cx:pt>
          <cx:pt idx="5528">637000</cx:pt>
          <cx:pt idx="5529">637000</cx:pt>
          <cx:pt idx="5530">637000</cx:pt>
          <cx:pt idx="5531">637000</cx:pt>
          <cx:pt idx="5532">637000</cx:pt>
          <cx:pt idx="5533">637000</cx:pt>
          <cx:pt idx="5534">637000</cx:pt>
          <cx:pt idx="5535">637000</cx:pt>
          <cx:pt idx="5536">637000</cx:pt>
          <cx:pt idx="5537">636230</cx:pt>
          <cx:pt idx="5538">636100</cx:pt>
          <cx:pt idx="5539">636000</cx:pt>
          <cx:pt idx="5540">636000</cx:pt>
          <cx:pt idx="5541">635700</cx:pt>
          <cx:pt idx="5542">635500</cx:pt>
          <cx:pt idx="5543">635250</cx:pt>
          <cx:pt idx="5544">635200</cx:pt>
          <cx:pt idx="5545">635000</cx:pt>
          <cx:pt idx="5546">635000</cx:pt>
          <cx:pt idx="5547">635000</cx:pt>
          <cx:pt idx="5548">635000</cx:pt>
          <cx:pt idx="5549">635000</cx:pt>
          <cx:pt idx="5550">635000</cx:pt>
          <cx:pt idx="5551">635000</cx:pt>
          <cx:pt idx="5552">635000</cx:pt>
          <cx:pt idx="5553">635000</cx:pt>
          <cx:pt idx="5554">635000</cx:pt>
          <cx:pt idx="5555">635000</cx:pt>
          <cx:pt idx="5556">635000</cx:pt>
          <cx:pt idx="5557">635000</cx:pt>
          <cx:pt idx="5558">635000</cx:pt>
          <cx:pt idx="5559">635000</cx:pt>
          <cx:pt idx="5560">635000</cx:pt>
          <cx:pt idx="5561">635000</cx:pt>
          <cx:pt idx="5562">635000</cx:pt>
          <cx:pt idx="5563">635000</cx:pt>
          <cx:pt idx="5564">635000</cx:pt>
          <cx:pt idx="5565">635000</cx:pt>
          <cx:pt idx="5566">635000</cx:pt>
          <cx:pt idx="5567">635000</cx:pt>
          <cx:pt idx="5568">635000</cx:pt>
          <cx:pt idx="5569">635000</cx:pt>
          <cx:pt idx="5570">635000</cx:pt>
          <cx:pt idx="5571">635000</cx:pt>
          <cx:pt idx="5572">635000</cx:pt>
          <cx:pt idx="5573">635000</cx:pt>
          <cx:pt idx="5574">635000</cx:pt>
          <cx:pt idx="5575">635000</cx:pt>
          <cx:pt idx="5576">635000</cx:pt>
          <cx:pt idx="5577">635000</cx:pt>
          <cx:pt idx="5578">635000</cx:pt>
          <cx:pt idx="5579">635000</cx:pt>
          <cx:pt idx="5580">635000</cx:pt>
          <cx:pt idx="5581">635000</cx:pt>
          <cx:pt idx="5582">635000</cx:pt>
          <cx:pt idx="5583">635000</cx:pt>
          <cx:pt idx="5584">635000</cx:pt>
          <cx:pt idx="5585">635000</cx:pt>
          <cx:pt idx="5586">635000</cx:pt>
          <cx:pt idx="5587">635000</cx:pt>
          <cx:pt idx="5588">635000</cx:pt>
          <cx:pt idx="5589">635000</cx:pt>
          <cx:pt idx="5590">635000</cx:pt>
          <cx:pt idx="5591">635000</cx:pt>
          <cx:pt idx="5592">635000</cx:pt>
          <cx:pt idx="5593">635000</cx:pt>
          <cx:pt idx="5594">635000</cx:pt>
          <cx:pt idx="5595">635000</cx:pt>
          <cx:pt idx="5596">635000</cx:pt>
          <cx:pt idx="5597">635000</cx:pt>
          <cx:pt idx="5598">635000</cx:pt>
          <cx:pt idx="5599">635000</cx:pt>
          <cx:pt idx="5600">635000</cx:pt>
          <cx:pt idx="5601">635000</cx:pt>
          <cx:pt idx="5602">635000</cx:pt>
          <cx:pt idx="5603">634950</cx:pt>
          <cx:pt idx="5604">634800</cx:pt>
          <cx:pt idx="5605">634000</cx:pt>
          <cx:pt idx="5606">634000</cx:pt>
          <cx:pt idx="5607">633634</cx:pt>
          <cx:pt idx="5608">633100</cx:pt>
          <cx:pt idx="5609">633000</cx:pt>
          <cx:pt idx="5610">633000</cx:pt>
          <cx:pt idx="5611">633000</cx:pt>
          <cx:pt idx="5612">633000</cx:pt>
          <cx:pt idx="5613">632925</cx:pt>
          <cx:pt idx="5614">632750</cx:pt>
          <cx:pt idx="5615">632500</cx:pt>
          <cx:pt idx="5616">632500</cx:pt>
          <cx:pt idx="5617">632500</cx:pt>
          <cx:pt idx="5618">632500</cx:pt>
          <cx:pt idx="5619">632500</cx:pt>
          <cx:pt idx="5620">632000</cx:pt>
          <cx:pt idx="5621">632000</cx:pt>
          <cx:pt idx="5622">632000</cx:pt>
          <cx:pt idx="5623">632000</cx:pt>
          <cx:pt idx="5624">631750</cx:pt>
          <cx:pt idx="5625">631625</cx:pt>
          <cx:pt idx="5626">631500</cx:pt>
          <cx:pt idx="5627">631500</cx:pt>
          <cx:pt idx="5628">631500</cx:pt>
          <cx:pt idx="5629">631000</cx:pt>
          <cx:pt idx="5630">631000</cx:pt>
          <cx:pt idx="5631">631000</cx:pt>
          <cx:pt idx="5632">631000</cx:pt>
          <cx:pt idx="5633">630500</cx:pt>
          <cx:pt idx="5634">630500</cx:pt>
          <cx:pt idx="5635">630100</cx:pt>
          <cx:pt idx="5636">630000</cx:pt>
          <cx:pt idx="5637">630000</cx:pt>
          <cx:pt idx="5638">630000</cx:pt>
          <cx:pt idx="5639">630000</cx:pt>
          <cx:pt idx="5640">630000</cx:pt>
          <cx:pt idx="5641">630000</cx:pt>
          <cx:pt idx="5642">630000</cx:pt>
          <cx:pt idx="5643">630000</cx:pt>
          <cx:pt idx="5644">630000</cx:pt>
          <cx:pt idx="5645">630000</cx:pt>
          <cx:pt idx="5646">630000</cx:pt>
          <cx:pt idx="5647">630000</cx:pt>
          <cx:pt idx="5648">630000</cx:pt>
          <cx:pt idx="5649">630000</cx:pt>
          <cx:pt idx="5650">630000</cx:pt>
          <cx:pt idx="5651">630000</cx:pt>
          <cx:pt idx="5652">630000</cx:pt>
          <cx:pt idx="5653">630000</cx:pt>
          <cx:pt idx="5654">630000</cx:pt>
          <cx:pt idx="5655">630000</cx:pt>
          <cx:pt idx="5656">630000</cx:pt>
          <cx:pt idx="5657">630000</cx:pt>
          <cx:pt idx="5658">630000</cx:pt>
          <cx:pt idx="5659">630000</cx:pt>
          <cx:pt idx="5660">630000</cx:pt>
          <cx:pt idx="5661">630000</cx:pt>
          <cx:pt idx="5662">630000</cx:pt>
          <cx:pt idx="5663">630000</cx:pt>
          <cx:pt idx="5664">630000</cx:pt>
          <cx:pt idx="5665">630000</cx:pt>
          <cx:pt idx="5666">630000</cx:pt>
          <cx:pt idx="5667">630000</cx:pt>
          <cx:pt idx="5668">630000</cx:pt>
          <cx:pt idx="5669">630000</cx:pt>
          <cx:pt idx="5670">630000</cx:pt>
          <cx:pt idx="5671">630000</cx:pt>
          <cx:pt idx="5672">630000</cx:pt>
          <cx:pt idx="5673">630000</cx:pt>
          <cx:pt idx="5674">630000</cx:pt>
          <cx:pt idx="5675">630000</cx:pt>
          <cx:pt idx="5676">630000</cx:pt>
          <cx:pt idx="5677">630000</cx:pt>
          <cx:pt idx="5678">630000</cx:pt>
          <cx:pt idx="5679">630000</cx:pt>
          <cx:pt idx="5680">630000</cx:pt>
          <cx:pt idx="5681">630000</cx:pt>
          <cx:pt idx="5682">630000</cx:pt>
          <cx:pt idx="5683">630000</cx:pt>
          <cx:pt idx="5684">630000</cx:pt>
          <cx:pt idx="5685">629950</cx:pt>
          <cx:pt idx="5686">629950</cx:pt>
          <cx:pt idx="5687">629950</cx:pt>
          <cx:pt idx="5688">629800</cx:pt>
          <cx:pt idx="5689">629500</cx:pt>
          <cx:pt idx="5690">629000</cx:pt>
          <cx:pt idx="5691">629000</cx:pt>
          <cx:pt idx="5692">629000</cx:pt>
          <cx:pt idx="5693">629000</cx:pt>
          <cx:pt idx="5694">629000</cx:pt>
          <cx:pt idx="5695">629000</cx:pt>
          <cx:pt idx="5696">629000</cx:pt>
          <cx:pt idx="5697">628990</cx:pt>
          <cx:pt idx="5698">628000</cx:pt>
          <cx:pt idx="5699">628000</cx:pt>
          <cx:pt idx="5700">628000</cx:pt>
          <cx:pt idx="5701">628000</cx:pt>
          <cx:pt idx="5702">628000</cx:pt>
          <cx:pt idx="5703">628000</cx:pt>
          <cx:pt idx="5704">628000</cx:pt>
          <cx:pt idx="5705">627800</cx:pt>
          <cx:pt idx="5706">627500</cx:pt>
          <cx:pt idx="5707">627500</cx:pt>
          <cx:pt idx="5708">627250</cx:pt>
          <cx:pt idx="5709">627000</cx:pt>
          <cx:pt idx="5710">627000</cx:pt>
          <cx:pt idx="5711">627000</cx:pt>
          <cx:pt idx="5712">627000</cx:pt>
          <cx:pt idx="5713">627000</cx:pt>
          <cx:pt idx="5714">627000</cx:pt>
          <cx:pt idx="5715">627000</cx:pt>
          <cx:pt idx="5716">626700</cx:pt>
          <cx:pt idx="5717">626500</cx:pt>
          <cx:pt idx="5718">626100</cx:pt>
          <cx:pt idx="5719">626000</cx:pt>
          <cx:pt idx="5720">626000</cx:pt>
          <cx:pt idx="5721">626000</cx:pt>
          <cx:pt idx="5722">626000</cx:pt>
          <cx:pt idx="5723">626000</cx:pt>
          <cx:pt idx="5724">626000</cx:pt>
          <cx:pt idx="5725">626000</cx:pt>
          <cx:pt idx="5726">625700</cx:pt>
          <cx:pt idx="5727">625504</cx:pt>
          <cx:pt idx="5728">625500</cx:pt>
          <cx:pt idx="5729">625250</cx:pt>
          <cx:pt idx="5730">625000</cx:pt>
          <cx:pt idx="5731">625000</cx:pt>
          <cx:pt idx="5732">625000</cx:pt>
          <cx:pt idx="5733">625000</cx:pt>
          <cx:pt idx="5734">625000</cx:pt>
          <cx:pt idx="5735">625000</cx:pt>
          <cx:pt idx="5736">625000</cx:pt>
          <cx:pt idx="5737">625000</cx:pt>
          <cx:pt idx="5738">625000</cx:pt>
          <cx:pt idx="5739">625000</cx:pt>
          <cx:pt idx="5740">625000</cx:pt>
          <cx:pt idx="5741">625000</cx:pt>
          <cx:pt idx="5742">625000</cx:pt>
          <cx:pt idx="5743">625000</cx:pt>
          <cx:pt idx="5744">625000</cx:pt>
          <cx:pt idx="5745">625000</cx:pt>
          <cx:pt idx="5746">625000</cx:pt>
          <cx:pt idx="5747">625000</cx:pt>
          <cx:pt idx="5748">625000</cx:pt>
          <cx:pt idx="5749">625000</cx:pt>
          <cx:pt idx="5750">625000</cx:pt>
          <cx:pt idx="5751">625000</cx:pt>
          <cx:pt idx="5752">625000</cx:pt>
          <cx:pt idx="5753">625000</cx:pt>
          <cx:pt idx="5754">625000</cx:pt>
          <cx:pt idx="5755">625000</cx:pt>
          <cx:pt idx="5756">625000</cx:pt>
          <cx:pt idx="5757">625000</cx:pt>
          <cx:pt idx="5758">625000</cx:pt>
          <cx:pt idx="5759">625000</cx:pt>
          <cx:pt idx="5760">625000</cx:pt>
          <cx:pt idx="5761">625000</cx:pt>
          <cx:pt idx="5762">625000</cx:pt>
          <cx:pt idx="5763">625000</cx:pt>
          <cx:pt idx="5764">625000</cx:pt>
          <cx:pt idx="5765">625000</cx:pt>
          <cx:pt idx="5766">625000</cx:pt>
          <cx:pt idx="5767">625000</cx:pt>
          <cx:pt idx="5768">625000</cx:pt>
          <cx:pt idx="5769">625000</cx:pt>
          <cx:pt idx="5770">625000</cx:pt>
          <cx:pt idx="5771">625000</cx:pt>
          <cx:pt idx="5772">625000</cx:pt>
          <cx:pt idx="5773">625000</cx:pt>
          <cx:pt idx="5774">625000</cx:pt>
          <cx:pt idx="5775">625000</cx:pt>
          <cx:pt idx="5776">625000</cx:pt>
          <cx:pt idx="5777">625000</cx:pt>
          <cx:pt idx="5778">625000</cx:pt>
          <cx:pt idx="5779">625000</cx:pt>
          <cx:pt idx="5780">625000</cx:pt>
          <cx:pt idx="5781">625000</cx:pt>
          <cx:pt idx="5782">625000</cx:pt>
          <cx:pt idx="5783">625000</cx:pt>
          <cx:pt idx="5784">625000</cx:pt>
          <cx:pt idx="5785">625000</cx:pt>
          <cx:pt idx="5786">625000</cx:pt>
          <cx:pt idx="5787">625000</cx:pt>
          <cx:pt idx="5788">625000</cx:pt>
          <cx:pt idx="5789">625000</cx:pt>
          <cx:pt idx="5790">625000</cx:pt>
          <cx:pt idx="5791">625000</cx:pt>
          <cx:pt idx="5792">625000</cx:pt>
          <cx:pt idx="5793">625000</cx:pt>
          <cx:pt idx="5794">625000</cx:pt>
          <cx:pt idx="5795">625000</cx:pt>
          <cx:pt idx="5796">625000</cx:pt>
          <cx:pt idx="5797">625000</cx:pt>
          <cx:pt idx="5798">625000</cx:pt>
          <cx:pt idx="5799">625000</cx:pt>
          <cx:pt idx="5800">625000</cx:pt>
          <cx:pt idx="5801">625000</cx:pt>
          <cx:pt idx="5802">625000</cx:pt>
          <cx:pt idx="5803">625000</cx:pt>
          <cx:pt idx="5804">625000</cx:pt>
          <cx:pt idx="5805">625000</cx:pt>
          <cx:pt idx="5806">625000</cx:pt>
          <cx:pt idx="5807">625000</cx:pt>
          <cx:pt idx="5808">625000</cx:pt>
          <cx:pt idx="5809">625000</cx:pt>
          <cx:pt idx="5810">625000</cx:pt>
          <cx:pt idx="5811">625000</cx:pt>
          <cx:pt idx="5812">625000</cx:pt>
          <cx:pt idx="5813">625000</cx:pt>
          <cx:pt idx="5814">625000</cx:pt>
          <cx:pt idx="5815">625000</cx:pt>
          <cx:pt idx="5816">625000</cx:pt>
          <cx:pt idx="5817">625000</cx:pt>
          <cx:pt idx="5818">625000</cx:pt>
          <cx:pt idx="5819">625000</cx:pt>
          <cx:pt idx="5820">625000</cx:pt>
          <cx:pt idx="5821">625000</cx:pt>
          <cx:pt idx="5822">625000</cx:pt>
          <cx:pt idx="5823">624950</cx:pt>
          <cx:pt idx="5824">624900</cx:pt>
          <cx:pt idx="5825">624800</cx:pt>
          <cx:pt idx="5826">624500</cx:pt>
          <cx:pt idx="5827">624000</cx:pt>
          <cx:pt idx="5828">624000</cx:pt>
          <cx:pt idx="5829">624000</cx:pt>
          <cx:pt idx="5830">624000</cx:pt>
          <cx:pt idx="5831">624000</cx:pt>
          <cx:pt idx="5832">624000</cx:pt>
          <cx:pt idx="5833">623500</cx:pt>
          <cx:pt idx="5834">623300</cx:pt>
          <cx:pt idx="5835">623000</cx:pt>
          <cx:pt idx="5836">623000</cx:pt>
          <cx:pt idx="5837">623000</cx:pt>
          <cx:pt idx="5838">623000</cx:pt>
          <cx:pt idx="5839">623000</cx:pt>
          <cx:pt idx="5840">623000</cx:pt>
          <cx:pt idx="5841">622950</cx:pt>
          <cx:pt idx="5842">622500</cx:pt>
          <cx:pt idx="5843">622500</cx:pt>
          <cx:pt idx="5844">622500</cx:pt>
          <cx:pt idx="5845">622500</cx:pt>
          <cx:pt idx="5846">622500</cx:pt>
          <cx:pt idx="5847">622200</cx:pt>
          <cx:pt idx="5848">622100</cx:pt>
          <cx:pt idx="5849">622000</cx:pt>
          <cx:pt idx="5850">622000</cx:pt>
          <cx:pt idx="5851">622000</cx:pt>
          <cx:pt idx="5852">622000</cx:pt>
          <cx:pt idx="5853">622000</cx:pt>
          <cx:pt idx="5854">622000</cx:pt>
          <cx:pt idx="5855">621500</cx:pt>
          <cx:pt idx="5856">621500</cx:pt>
          <cx:pt idx="5857">621138</cx:pt>
          <cx:pt idx="5858">621000</cx:pt>
          <cx:pt idx="5859">621000</cx:pt>
          <cx:pt idx="5860">621000</cx:pt>
          <cx:pt idx="5861">620047</cx:pt>
          <cx:pt idx="5862">620000</cx:pt>
          <cx:pt idx="5863">620000</cx:pt>
          <cx:pt idx="5864">620000</cx:pt>
          <cx:pt idx="5865">620000</cx:pt>
          <cx:pt idx="5866">620000</cx:pt>
          <cx:pt idx="5867">620000</cx:pt>
          <cx:pt idx="5868">620000</cx:pt>
          <cx:pt idx="5869">620000</cx:pt>
          <cx:pt idx="5870">620000</cx:pt>
          <cx:pt idx="5871">620000</cx:pt>
          <cx:pt idx="5872">620000</cx:pt>
          <cx:pt idx="5873">620000</cx:pt>
          <cx:pt idx="5874">620000</cx:pt>
          <cx:pt idx="5875">620000</cx:pt>
          <cx:pt idx="5876">620000</cx:pt>
          <cx:pt idx="5877">620000</cx:pt>
          <cx:pt idx="5878">620000</cx:pt>
          <cx:pt idx="5879">620000</cx:pt>
          <cx:pt idx="5880">620000</cx:pt>
          <cx:pt idx="5881">620000</cx:pt>
          <cx:pt idx="5882">620000</cx:pt>
          <cx:pt idx="5883">620000</cx:pt>
          <cx:pt idx="5884">620000</cx:pt>
          <cx:pt idx="5885">620000</cx:pt>
          <cx:pt idx="5886">620000</cx:pt>
          <cx:pt idx="5887">620000</cx:pt>
          <cx:pt idx="5888">620000</cx:pt>
          <cx:pt idx="5889">620000</cx:pt>
          <cx:pt idx="5890">620000</cx:pt>
          <cx:pt idx="5891">620000</cx:pt>
          <cx:pt idx="5892">620000</cx:pt>
          <cx:pt idx="5893">620000</cx:pt>
          <cx:pt idx="5894">620000</cx:pt>
          <cx:pt idx="5895">620000</cx:pt>
          <cx:pt idx="5896">620000</cx:pt>
          <cx:pt idx="5897">620000</cx:pt>
          <cx:pt idx="5898">620000</cx:pt>
          <cx:pt idx="5899">620000</cx:pt>
          <cx:pt idx="5900">620000</cx:pt>
          <cx:pt idx="5901">620000</cx:pt>
          <cx:pt idx="5902">620000</cx:pt>
          <cx:pt idx="5903">620000</cx:pt>
          <cx:pt idx="5904">620000</cx:pt>
          <cx:pt idx="5905">620000</cx:pt>
          <cx:pt idx="5906">620000</cx:pt>
          <cx:pt idx="5907">620000</cx:pt>
          <cx:pt idx="5908">620000</cx:pt>
          <cx:pt idx="5909">620000</cx:pt>
          <cx:pt idx="5910">620000</cx:pt>
          <cx:pt idx="5911">620000</cx:pt>
          <cx:pt idx="5912">620000</cx:pt>
          <cx:pt idx="5913">620000</cx:pt>
          <cx:pt idx="5914">620000</cx:pt>
          <cx:pt idx="5915">620000</cx:pt>
          <cx:pt idx="5916">620000</cx:pt>
          <cx:pt idx="5917">620000</cx:pt>
          <cx:pt idx="5918">619990</cx:pt>
          <cx:pt idx="5919">619950</cx:pt>
          <cx:pt idx="5920">619850</cx:pt>
          <cx:pt idx="5921">619790</cx:pt>
          <cx:pt idx="5922">619500</cx:pt>
          <cx:pt idx="5923">619500</cx:pt>
          <cx:pt idx="5924">619500</cx:pt>
          <cx:pt idx="5925">619500</cx:pt>
          <cx:pt idx="5926">619420</cx:pt>
          <cx:pt idx="5927">619400</cx:pt>
          <cx:pt idx="5928">619100</cx:pt>
          <cx:pt idx="5929">619000</cx:pt>
          <cx:pt idx="5930">619000</cx:pt>
          <cx:pt idx="5931">619000</cx:pt>
          <cx:pt idx="5932">619000</cx:pt>
          <cx:pt idx="5933">619000</cx:pt>
          <cx:pt idx="5934">619000</cx:pt>
          <cx:pt idx="5935">619000</cx:pt>
          <cx:pt idx="5936">619000</cx:pt>
          <cx:pt idx="5937">618500</cx:pt>
          <cx:pt idx="5938">618250</cx:pt>
          <cx:pt idx="5939">618080</cx:pt>
          <cx:pt idx="5940">618000</cx:pt>
          <cx:pt idx="5941">618000</cx:pt>
          <cx:pt idx="5942">618000</cx:pt>
          <cx:pt idx="5943">618000</cx:pt>
          <cx:pt idx="5944">618000</cx:pt>
          <cx:pt idx="5945">618000</cx:pt>
          <cx:pt idx="5946">618000</cx:pt>
          <cx:pt idx="5947">617950</cx:pt>
          <cx:pt idx="5948">617450</cx:pt>
          <cx:pt idx="5949">617000</cx:pt>
          <cx:pt idx="5950">617000</cx:pt>
          <cx:pt idx="5951">617000</cx:pt>
          <cx:pt idx="5952">616950</cx:pt>
          <cx:pt idx="5953">616950</cx:pt>
          <cx:pt idx="5954">616750</cx:pt>
          <cx:pt idx="5955">616500</cx:pt>
          <cx:pt idx="5956">616500</cx:pt>
          <cx:pt idx="5957">616500</cx:pt>
          <cx:pt idx="5958">616300</cx:pt>
          <cx:pt idx="5959">616200</cx:pt>
          <cx:pt idx="5960">616000</cx:pt>
          <cx:pt idx="5961">616000</cx:pt>
          <cx:pt idx="5962">616000</cx:pt>
          <cx:pt idx="5963">616000</cx:pt>
          <cx:pt idx="5964">616000</cx:pt>
          <cx:pt idx="5965">616000</cx:pt>
          <cx:pt idx="5966">615750</cx:pt>
          <cx:pt idx="5967">615500</cx:pt>
          <cx:pt idx="5968">615000</cx:pt>
          <cx:pt idx="5969">615000</cx:pt>
          <cx:pt idx="5970">615000</cx:pt>
          <cx:pt idx="5971">615000</cx:pt>
          <cx:pt idx="5972">615000</cx:pt>
          <cx:pt idx="5973">615000</cx:pt>
          <cx:pt idx="5974">615000</cx:pt>
          <cx:pt idx="5975">615000</cx:pt>
          <cx:pt idx="5976">615000</cx:pt>
          <cx:pt idx="5977">615000</cx:pt>
          <cx:pt idx="5978">615000</cx:pt>
          <cx:pt idx="5979">615000</cx:pt>
          <cx:pt idx="5980">615000</cx:pt>
          <cx:pt idx="5981">615000</cx:pt>
          <cx:pt idx="5982">615000</cx:pt>
          <cx:pt idx="5983">615000</cx:pt>
          <cx:pt idx="5984">615000</cx:pt>
          <cx:pt idx="5985">615000</cx:pt>
          <cx:pt idx="5986">615000</cx:pt>
          <cx:pt idx="5987">615000</cx:pt>
          <cx:pt idx="5988">615000</cx:pt>
          <cx:pt idx="5989">615000</cx:pt>
          <cx:pt idx="5990">615000</cx:pt>
          <cx:pt idx="5991">615000</cx:pt>
          <cx:pt idx="5992">615000</cx:pt>
          <cx:pt idx="5993">615000</cx:pt>
          <cx:pt idx="5994">615000</cx:pt>
          <cx:pt idx="5995">615000</cx:pt>
          <cx:pt idx="5996">615000</cx:pt>
          <cx:pt idx="5997">615000</cx:pt>
          <cx:pt idx="5998">615000</cx:pt>
          <cx:pt idx="5999">615000</cx:pt>
          <cx:pt idx="6000">615000</cx:pt>
          <cx:pt idx="6001">615000</cx:pt>
          <cx:pt idx="6002">615000</cx:pt>
          <cx:pt idx="6003">615000</cx:pt>
          <cx:pt idx="6004">615000</cx:pt>
          <cx:pt idx="6005">615000</cx:pt>
          <cx:pt idx="6006">615000</cx:pt>
          <cx:pt idx="6007">615000</cx:pt>
          <cx:pt idx="6008">615000</cx:pt>
          <cx:pt idx="6009">615000</cx:pt>
          <cx:pt idx="6010">615000</cx:pt>
          <cx:pt idx="6011">615000</cx:pt>
          <cx:pt idx="6012">615000</cx:pt>
          <cx:pt idx="6013">615000</cx:pt>
          <cx:pt idx="6014">615000</cx:pt>
          <cx:pt idx="6015">615000</cx:pt>
          <cx:pt idx="6016">615000</cx:pt>
          <cx:pt idx="6017">615000</cx:pt>
          <cx:pt idx="6018">615000</cx:pt>
          <cx:pt idx="6019">615000</cx:pt>
          <cx:pt idx="6020">615000</cx:pt>
          <cx:pt idx="6021">614950</cx:pt>
          <cx:pt idx="6022">614905</cx:pt>
          <cx:pt idx="6023">614306</cx:pt>
          <cx:pt idx="6024">614285</cx:pt>
          <cx:pt idx="6025">614000</cx:pt>
          <cx:pt idx="6026">614000</cx:pt>
          <cx:pt idx="6027">614000</cx:pt>
          <cx:pt idx="6028">614000</cx:pt>
          <cx:pt idx="6029">613500</cx:pt>
          <cx:pt idx="6030">613500</cx:pt>
          <cx:pt idx="6031">613500</cx:pt>
          <cx:pt idx="6032">613200</cx:pt>
          <cx:pt idx="6033">613000</cx:pt>
          <cx:pt idx="6034">613000</cx:pt>
          <cx:pt idx="6035">613000</cx:pt>
          <cx:pt idx="6036">613000</cx:pt>
          <cx:pt idx="6037">613000</cx:pt>
          <cx:pt idx="6038">613000</cx:pt>
          <cx:pt idx="6039">613000</cx:pt>
          <cx:pt idx="6040">612995</cx:pt>
          <cx:pt idx="6041">612500</cx:pt>
          <cx:pt idx="6042">612500</cx:pt>
          <cx:pt idx="6043">612500</cx:pt>
          <cx:pt idx="6044">612500</cx:pt>
          <cx:pt idx="6045">612125</cx:pt>
          <cx:pt idx="6046">612000</cx:pt>
          <cx:pt idx="6047">612000</cx:pt>
          <cx:pt idx="6048">612000</cx:pt>
          <cx:pt idx="6049">612000</cx:pt>
          <cx:pt idx="6050">612000</cx:pt>
          <cx:pt idx="6051">612000</cx:pt>
          <cx:pt idx="6052">612000</cx:pt>
          <cx:pt idx="6053">612000</cx:pt>
          <cx:pt idx="6054">611900</cx:pt>
          <cx:pt idx="6055">611206</cx:pt>
          <cx:pt idx="6056">611000</cx:pt>
          <cx:pt idx="6057">611000</cx:pt>
          <cx:pt idx="6058">611000</cx:pt>
          <cx:pt idx="6059">611000</cx:pt>
          <cx:pt idx="6060">611000</cx:pt>
          <cx:pt idx="6061">610950</cx:pt>
          <cx:pt idx="6062">610750</cx:pt>
          <cx:pt idx="6063">610685</cx:pt>
          <cx:pt idx="6064">610360</cx:pt>
          <cx:pt idx="6065">610000</cx:pt>
          <cx:pt idx="6066">610000</cx:pt>
          <cx:pt idx="6067">610000</cx:pt>
          <cx:pt idx="6068">610000</cx:pt>
          <cx:pt idx="6069">610000</cx:pt>
          <cx:pt idx="6070">610000</cx:pt>
          <cx:pt idx="6071">610000</cx:pt>
          <cx:pt idx="6072">610000</cx:pt>
          <cx:pt idx="6073">610000</cx:pt>
          <cx:pt idx="6074">610000</cx:pt>
          <cx:pt idx="6075">610000</cx:pt>
          <cx:pt idx="6076">610000</cx:pt>
          <cx:pt idx="6077">610000</cx:pt>
          <cx:pt idx="6078">610000</cx:pt>
          <cx:pt idx="6079">610000</cx:pt>
          <cx:pt idx="6080">610000</cx:pt>
          <cx:pt idx="6081">610000</cx:pt>
          <cx:pt idx="6082">610000</cx:pt>
          <cx:pt idx="6083">610000</cx:pt>
          <cx:pt idx="6084">610000</cx:pt>
          <cx:pt idx="6085">610000</cx:pt>
          <cx:pt idx="6086">610000</cx:pt>
          <cx:pt idx="6087">610000</cx:pt>
          <cx:pt idx="6088">610000</cx:pt>
          <cx:pt idx="6089">610000</cx:pt>
          <cx:pt idx="6090">610000</cx:pt>
          <cx:pt idx="6091">610000</cx:pt>
          <cx:pt idx="6092">610000</cx:pt>
          <cx:pt idx="6093">610000</cx:pt>
          <cx:pt idx="6094">610000</cx:pt>
          <cx:pt idx="6095">610000</cx:pt>
          <cx:pt idx="6096">610000</cx:pt>
          <cx:pt idx="6097">610000</cx:pt>
          <cx:pt idx="6098">610000</cx:pt>
          <cx:pt idx="6099">610000</cx:pt>
          <cx:pt idx="6100">610000</cx:pt>
          <cx:pt idx="6101">610000</cx:pt>
          <cx:pt idx="6102">610000</cx:pt>
          <cx:pt idx="6103">610000</cx:pt>
          <cx:pt idx="6104">610000</cx:pt>
          <cx:pt idx="6105">610000</cx:pt>
          <cx:pt idx="6106">610000</cx:pt>
          <cx:pt idx="6107">610000</cx:pt>
          <cx:pt idx="6108">610000</cx:pt>
          <cx:pt idx="6109">610000</cx:pt>
          <cx:pt idx="6110">610000</cx:pt>
          <cx:pt idx="6111">610000</cx:pt>
          <cx:pt idx="6112">609950</cx:pt>
          <cx:pt idx="6113">609900</cx:pt>
          <cx:pt idx="6114">609850</cx:pt>
          <cx:pt idx="6115">609500</cx:pt>
          <cx:pt idx="6116">609000</cx:pt>
          <cx:pt idx="6117">609000</cx:pt>
          <cx:pt idx="6118">609000</cx:pt>
          <cx:pt idx="6119">609000</cx:pt>
          <cx:pt idx="6120">609000</cx:pt>
          <cx:pt idx="6121">609000</cx:pt>
          <cx:pt idx="6122">608700</cx:pt>
          <cx:pt idx="6123">608500</cx:pt>
          <cx:pt idx="6124">608250</cx:pt>
          <cx:pt idx="6125">608095</cx:pt>
          <cx:pt idx="6126">608000</cx:pt>
          <cx:pt idx="6127">608000</cx:pt>
          <cx:pt idx="6128">608000</cx:pt>
          <cx:pt idx="6129">608000</cx:pt>
          <cx:pt idx="6130">608000</cx:pt>
          <cx:pt idx="6131">608000</cx:pt>
          <cx:pt idx="6132">608000</cx:pt>
          <cx:pt idx="6133">608000</cx:pt>
          <cx:pt idx="6134">608000</cx:pt>
          <cx:pt idx="6135">608000</cx:pt>
          <cx:pt idx="6136">608000</cx:pt>
          <cx:pt idx="6137">607500</cx:pt>
          <cx:pt idx="6138">607500</cx:pt>
          <cx:pt idx="6139">607500</cx:pt>
          <cx:pt idx="6140">607500</cx:pt>
          <cx:pt idx="6141">607500</cx:pt>
          <cx:pt idx="6142">607500</cx:pt>
          <cx:pt idx="6143">607010</cx:pt>
          <cx:pt idx="6144">607000</cx:pt>
          <cx:pt idx="6145">607000</cx:pt>
          <cx:pt idx="6146">607000</cx:pt>
          <cx:pt idx="6147">607000</cx:pt>
          <cx:pt idx="6148">607000</cx:pt>
          <cx:pt idx="6149">607000</cx:pt>
          <cx:pt idx="6150">607000</cx:pt>
          <cx:pt idx="6151">607000</cx:pt>
          <cx:pt idx="6152">606500</cx:pt>
          <cx:pt idx="6153">606400</cx:pt>
          <cx:pt idx="6154">606150</cx:pt>
          <cx:pt idx="6155">606000</cx:pt>
          <cx:pt idx="6156">606000</cx:pt>
          <cx:pt idx="6157">606000</cx:pt>
          <cx:pt idx="6158">606000</cx:pt>
          <cx:pt idx="6159">606000</cx:pt>
          <cx:pt idx="6160">606000</cx:pt>
          <cx:pt idx="6161">605500</cx:pt>
          <cx:pt idx="6162">605125</cx:pt>
          <cx:pt idx="6163">605004</cx:pt>
          <cx:pt idx="6164">605000</cx:pt>
          <cx:pt idx="6165">605000</cx:pt>
          <cx:pt idx="6166">605000</cx:pt>
          <cx:pt idx="6167">605000</cx:pt>
          <cx:pt idx="6168">605000</cx:pt>
          <cx:pt idx="6169">605000</cx:pt>
          <cx:pt idx="6170">605000</cx:pt>
          <cx:pt idx="6171">605000</cx:pt>
          <cx:pt idx="6172">605000</cx:pt>
          <cx:pt idx="6173">605000</cx:pt>
          <cx:pt idx="6174">605000</cx:pt>
          <cx:pt idx="6175">605000</cx:pt>
          <cx:pt idx="6176">605000</cx:pt>
          <cx:pt idx="6177">605000</cx:pt>
          <cx:pt idx="6178">605000</cx:pt>
          <cx:pt idx="6179">605000</cx:pt>
          <cx:pt idx="6180">605000</cx:pt>
          <cx:pt idx="6181">605000</cx:pt>
          <cx:pt idx="6182">605000</cx:pt>
          <cx:pt idx="6183">605000</cx:pt>
          <cx:pt idx="6184">605000</cx:pt>
          <cx:pt idx="6185">605000</cx:pt>
          <cx:pt idx="6186">605000</cx:pt>
          <cx:pt idx="6187">605000</cx:pt>
          <cx:pt idx="6188">605000</cx:pt>
          <cx:pt idx="6189">605000</cx:pt>
          <cx:pt idx="6190">605000</cx:pt>
          <cx:pt idx="6191">605000</cx:pt>
          <cx:pt idx="6192">605000</cx:pt>
          <cx:pt idx="6193">605000</cx:pt>
          <cx:pt idx="6194">605000</cx:pt>
          <cx:pt idx="6195">605000</cx:pt>
          <cx:pt idx="6196">605000</cx:pt>
          <cx:pt idx="6197">605000</cx:pt>
          <cx:pt idx="6198">605000</cx:pt>
          <cx:pt idx="6199">605000</cx:pt>
          <cx:pt idx="6200">605000</cx:pt>
          <cx:pt idx="6201">605000</cx:pt>
          <cx:pt idx="6202">605000</cx:pt>
          <cx:pt idx="6203">605000</cx:pt>
          <cx:pt idx="6204">605000</cx:pt>
          <cx:pt idx="6205">605000</cx:pt>
          <cx:pt idx="6206">605000</cx:pt>
          <cx:pt idx="6207">605000</cx:pt>
          <cx:pt idx="6208">605000</cx:pt>
          <cx:pt idx="6209">605000</cx:pt>
          <cx:pt idx="6210">605000</cx:pt>
          <cx:pt idx="6211">605000</cx:pt>
          <cx:pt idx="6212">605000</cx:pt>
          <cx:pt idx="6213">605000</cx:pt>
          <cx:pt idx="6214">605000</cx:pt>
          <cx:pt idx="6215">605000</cx:pt>
          <cx:pt idx="6216">604950</cx:pt>
          <cx:pt idx="6217">604700</cx:pt>
          <cx:pt idx="6218">604000</cx:pt>
          <cx:pt idx="6219">604000</cx:pt>
          <cx:pt idx="6220">604000</cx:pt>
          <cx:pt idx="6221">604000</cx:pt>
          <cx:pt idx="6222">604000</cx:pt>
          <cx:pt idx="6223">604000</cx:pt>
          <cx:pt idx="6224">604000</cx:pt>
          <cx:pt idx="6225">603500</cx:pt>
          <cx:pt idx="6226">603500</cx:pt>
          <cx:pt idx="6227">603500</cx:pt>
          <cx:pt idx="6228">603000</cx:pt>
          <cx:pt idx="6229">603000</cx:pt>
          <cx:pt idx="6230">603000</cx:pt>
          <cx:pt idx="6231">603000</cx:pt>
          <cx:pt idx="6232">603000</cx:pt>
          <cx:pt idx="6233">603000</cx:pt>
          <cx:pt idx="6234">602500</cx:pt>
          <cx:pt idx="6235">602500</cx:pt>
          <cx:pt idx="6236">602500</cx:pt>
          <cx:pt idx="6237">602000</cx:pt>
          <cx:pt idx="6238">602000</cx:pt>
          <cx:pt idx="6239">602000</cx:pt>
          <cx:pt idx="6240">602000</cx:pt>
          <cx:pt idx="6241">602000</cx:pt>
          <cx:pt idx="6242">602000</cx:pt>
          <cx:pt idx="6243">602000</cx:pt>
          <cx:pt idx="6244">602000</cx:pt>
          <cx:pt idx="6245">601500</cx:pt>
          <cx:pt idx="6246">601450</cx:pt>
          <cx:pt idx="6247">601150</cx:pt>
          <cx:pt idx="6248">601002</cx:pt>
          <cx:pt idx="6249">601000</cx:pt>
          <cx:pt idx="6250">601000</cx:pt>
          <cx:pt idx="6251">601000</cx:pt>
          <cx:pt idx="6252">601000</cx:pt>
          <cx:pt idx="6253">601000</cx:pt>
          <cx:pt idx="6254">601000</cx:pt>
          <cx:pt idx="6255">600600</cx:pt>
          <cx:pt idx="6256">600000</cx:pt>
          <cx:pt idx="6257">600000</cx:pt>
          <cx:pt idx="6258">600000</cx:pt>
          <cx:pt idx="6259">600000</cx:pt>
          <cx:pt idx="6260">600000</cx:pt>
          <cx:pt idx="6261">600000</cx:pt>
          <cx:pt idx="6262">600000</cx:pt>
          <cx:pt idx="6263">600000</cx:pt>
          <cx:pt idx="6264">600000</cx:pt>
          <cx:pt idx="6265">600000</cx:pt>
          <cx:pt idx="6266">600000</cx:pt>
          <cx:pt idx="6267">600000</cx:pt>
          <cx:pt idx="6268">600000</cx:pt>
          <cx:pt idx="6269">600000</cx:pt>
          <cx:pt idx="6270">600000</cx:pt>
          <cx:pt idx="6271">600000</cx:pt>
          <cx:pt idx="6272">600000</cx:pt>
          <cx:pt idx="6273">600000</cx:pt>
          <cx:pt idx="6274">600000</cx:pt>
          <cx:pt idx="6275">600000</cx:pt>
          <cx:pt idx="6276">600000</cx:pt>
          <cx:pt idx="6277">600000</cx:pt>
          <cx:pt idx="6278">600000</cx:pt>
          <cx:pt idx="6279">600000</cx:pt>
          <cx:pt idx="6280">600000</cx:pt>
          <cx:pt idx="6281">600000</cx:pt>
          <cx:pt idx="6282">600000</cx:pt>
          <cx:pt idx="6283">600000</cx:pt>
          <cx:pt idx="6284">600000</cx:pt>
          <cx:pt idx="6285">600000</cx:pt>
          <cx:pt idx="6286">600000</cx:pt>
          <cx:pt idx="6287">600000</cx:pt>
          <cx:pt idx="6288">600000</cx:pt>
          <cx:pt idx="6289">600000</cx:pt>
          <cx:pt idx="6290">600000</cx:pt>
          <cx:pt idx="6291">600000</cx:pt>
          <cx:pt idx="6292">600000</cx:pt>
          <cx:pt idx="6293">600000</cx:pt>
          <cx:pt idx="6294">600000</cx:pt>
          <cx:pt idx="6295">600000</cx:pt>
          <cx:pt idx="6296">600000</cx:pt>
          <cx:pt idx="6297">600000</cx:pt>
          <cx:pt idx="6298">600000</cx:pt>
          <cx:pt idx="6299">600000</cx:pt>
          <cx:pt idx="6300">600000</cx:pt>
          <cx:pt idx="6301">600000</cx:pt>
          <cx:pt idx="6302">600000</cx:pt>
          <cx:pt idx="6303">600000</cx:pt>
          <cx:pt idx="6304">600000</cx:pt>
          <cx:pt idx="6305">600000</cx:pt>
          <cx:pt idx="6306">600000</cx:pt>
          <cx:pt idx="6307">600000</cx:pt>
          <cx:pt idx="6308">600000</cx:pt>
          <cx:pt idx="6309">600000</cx:pt>
          <cx:pt idx="6310">600000</cx:pt>
          <cx:pt idx="6311">600000</cx:pt>
          <cx:pt idx="6312">600000</cx:pt>
          <cx:pt idx="6313">600000</cx:pt>
          <cx:pt idx="6314">600000</cx:pt>
          <cx:pt idx="6315">600000</cx:pt>
          <cx:pt idx="6316">600000</cx:pt>
          <cx:pt idx="6317">600000</cx:pt>
          <cx:pt idx="6318">600000</cx:pt>
          <cx:pt idx="6319">600000</cx:pt>
          <cx:pt idx="6320">600000</cx:pt>
          <cx:pt idx="6321">600000</cx:pt>
          <cx:pt idx="6322">600000</cx:pt>
          <cx:pt idx="6323">600000</cx:pt>
          <cx:pt idx="6324">600000</cx:pt>
          <cx:pt idx="6325">600000</cx:pt>
          <cx:pt idx="6326">600000</cx:pt>
          <cx:pt idx="6327">600000</cx:pt>
          <cx:pt idx="6328">600000</cx:pt>
          <cx:pt idx="6329">600000</cx:pt>
          <cx:pt idx="6330">600000</cx:pt>
          <cx:pt idx="6331">600000</cx:pt>
          <cx:pt idx="6332">600000</cx:pt>
          <cx:pt idx="6333">600000</cx:pt>
          <cx:pt idx="6334">600000</cx:pt>
          <cx:pt idx="6335">600000</cx:pt>
          <cx:pt idx="6336">600000</cx:pt>
          <cx:pt idx="6337">600000</cx:pt>
          <cx:pt idx="6338">600000</cx:pt>
          <cx:pt idx="6339">600000</cx:pt>
          <cx:pt idx="6340">600000</cx:pt>
          <cx:pt idx="6341">600000</cx:pt>
          <cx:pt idx="6342">600000</cx:pt>
          <cx:pt idx="6343">600000</cx:pt>
          <cx:pt idx="6344">600000</cx:pt>
          <cx:pt idx="6345">600000</cx:pt>
          <cx:pt idx="6346">600000</cx:pt>
          <cx:pt idx="6347">600000</cx:pt>
          <cx:pt idx="6348">600000</cx:pt>
          <cx:pt idx="6349">600000</cx:pt>
          <cx:pt idx="6350">600000</cx:pt>
          <cx:pt idx="6351">600000</cx:pt>
          <cx:pt idx="6352">600000</cx:pt>
          <cx:pt idx="6353">600000</cx:pt>
          <cx:pt idx="6354">600000</cx:pt>
          <cx:pt idx="6355">600000</cx:pt>
          <cx:pt idx="6356">600000</cx:pt>
          <cx:pt idx="6357">600000</cx:pt>
          <cx:pt idx="6358">600000</cx:pt>
          <cx:pt idx="6359">600000</cx:pt>
          <cx:pt idx="6360">600000</cx:pt>
          <cx:pt idx="6361">600000</cx:pt>
          <cx:pt idx="6362">600000</cx:pt>
          <cx:pt idx="6363">600000</cx:pt>
          <cx:pt idx="6364">600000</cx:pt>
          <cx:pt idx="6365">600000</cx:pt>
          <cx:pt idx="6366">599999</cx:pt>
          <cx:pt idx="6367">599995</cx:pt>
          <cx:pt idx="6368">599990</cx:pt>
          <cx:pt idx="6369">599950</cx:pt>
          <cx:pt idx="6370">599950</cx:pt>
          <cx:pt idx="6371">599950</cx:pt>
          <cx:pt idx="6372">599950</cx:pt>
          <cx:pt idx="6373">599950</cx:pt>
          <cx:pt idx="6374">599950</cx:pt>
          <cx:pt idx="6375">599950</cx:pt>
          <cx:pt idx="6376">599950</cx:pt>
          <cx:pt idx="6377">599950</cx:pt>
          <cx:pt idx="6378">599950</cx:pt>
          <cx:pt idx="6379">599950</cx:pt>
          <cx:pt idx="6380">599950</cx:pt>
          <cx:pt idx="6381">599950</cx:pt>
          <cx:pt idx="6382">599900</cx:pt>
          <cx:pt idx="6383">599900</cx:pt>
          <cx:pt idx="6384">599832</cx:pt>
          <cx:pt idx="6385">599500</cx:pt>
          <cx:pt idx="6386">599380</cx:pt>
          <cx:pt idx="6387">599000</cx:pt>
          <cx:pt idx="6388">599000</cx:pt>
          <cx:pt idx="6389">599000</cx:pt>
          <cx:pt idx="6390">599000</cx:pt>
          <cx:pt idx="6391">599000</cx:pt>
          <cx:pt idx="6392">599000</cx:pt>
          <cx:pt idx="6393">599000</cx:pt>
          <cx:pt idx="6394">599000</cx:pt>
          <cx:pt idx="6395">599000</cx:pt>
          <cx:pt idx="6396">599000</cx:pt>
          <cx:pt idx="6397">599000</cx:pt>
          <cx:pt idx="6398">599000</cx:pt>
          <cx:pt idx="6399">599000</cx:pt>
          <cx:pt idx="6400">599000</cx:pt>
          <cx:pt idx="6401">599000</cx:pt>
          <cx:pt idx="6402">599000</cx:pt>
          <cx:pt idx="6403">599000</cx:pt>
          <cx:pt idx="6404">599000</cx:pt>
          <cx:pt idx="6405">599000</cx:pt>
          <cx:pt idx="6406">599000</cx:pt>
          <cx:pt idx="6407">599000</cx:pt>
          <cx:pt idx="6408">599000</cx:pt>
          <cx:pt idx="6409">599000</cx:pt>
          <cx:pt idx="6410">599000</cx:pt>
          <cx:pt idx="6411">598992</cx:pt>
          <cx:pt idx="6412">598950</cx:pt>
          <cx:pt idx="6413">598850</cx:pt>
          <cx:pt idx="6414">598800</cx:pt>
          <cx:pt idx="6415">598800</cx:pt>
          <cx:pt idx="6416">598780</cx:pt>
          <cx:pt idx="6417">598600</cx:pt>
          <cx:pt idx="6418">598555</cx:pt>
          <cx:pt idx="6419">598500</cx:pt>
          <cx:pt idx="6420">598500</cx:pt>
          <cx:pt idx="6421">598500</cx:pt>
          <cx:pt idx="6422">598200</cx:pt>
          <cx:pt idx="6423">598000</cx:pt>
          <cx:pt idx="6424">598000</cx:pt>
          <cx:pt idx="6425">598000</cx:pt>
          <cx:pt idx="6426">598000</cx:pt>
          <cx:pt idx="6427">597750</cx:pt>
          <cx:pt idx="6428">597500</cx:pt>
          <cx:pt idx="6429">597500</cx:pt>
          <cx:pt idx="6430">597500</cx:pt>
          <cx:pt idx="6431">597500</cx:pt>
          <cx:pt idx="6432">597400</cx:pt>
          <cx:pt idx="6433">597326</cx:pt>
          <cx:pt idx="6434">597157</cx:pt>
          <cx:pt idx="6435">597000</cx:pt>
          <cx:pt idx="6436">597000</cx:pt>
          <cx:pt idx="6437">597000</cx:pt>
          <cx:pt idx="6438">597000</cx:pt>
          <cx:pt idx="6439">597000</cx:pt>
          <cx:pt idx="6440">596500</cx:pt>
          <cx:pt idx="6441">596000</cx:pt>
          <cx:pt idx="6442">596000</cx:pt>
          <cx:pt idx="6443">596000</cx:pt>
          <cx:pt idx="6444">595888</cx:pt>
          <cx:pt idx="6445">595500</cx:pt>
          <cx:pt idx="6446">595000</cx:pt>
          <cx:pt idx="6447">595000</cx:pt>
          <cx:pt idx="6448">595000</cx:pt>
          <cx:pt idx="6449">595000</cx:pt>
          <cx:pt idx="6450">595000</cx:pt>
          <cx:pt idx="6451">595000</cx:pt>
          <cx:pt idx="6452">595000</cx:pt>
          <cx:pt idx="6453">595000</cx:pt>
          <cx:pt idx="6454">595000</cx:pt>
          <cx:pt idx="6455">595000</cx:pt>
          <cx:pt idx="6456">595000</cx:pt>
          <cx:pt idx="6457">595000</cx:pt>
          <cx:pt idx="6458">595000</cx:pt>
          <cx:pt idx="6459">595000</cx:pt>
          <cx:pt idx="6460">595000</cx:pt>
          <cx:pt idx="6461">595000</cx:pt>
          <cx:pt idx="6462">595000</cx:pt>
          <cx:pt idx="6463">595000</cx:pt>
          <cx:pt idx="6464">595000</cx:pt>
          <cx:pt idx="6465">595000</cx:pt>
          <cx:pt idx="6466">595000</cx:pt>
          <cx:pt idx="6467">595000</cx:pt>
          <cx:pt idx="6468">595000</cx:pt>
          <cx:pt idx="6469">595000</cx:pt>
          <cx:pt idx="6470">595000</cx:pt>
          <cx:pt idx="6471">595000</cx:pt>
          <cx:pt idx="6472">595000</cx:pt>
          <cx:pt idx="6473">595000</cx:pt>
          <cx:pt idx="6474">595000</cx:pt>
          <cx:pt idx="6475">595000</cx:pt>
          <cx:pt idx="6476">595000</cx:pt>
          <cx:pt idx="6477">595000</cx:pt>
          <cx:pt idx="6478">595000</cx:pt>
          <cx:pt idx="6479">595000</cx:pt>
          <cx:pt idx="6480">595000</cx:pt>
          <cx:pt idx="6481">595000</cx:pt>
          <cx:pt idx="6482">595000</cx:pt>
          <cx:pt idx="6483">595000</cx:pt>
          <cx:pt idx="6484">595000</cx:pt>
          <cx:pt idx="6485">595000</cx:pt>
          <cx:pt idx="6486">595000</cx:pt>
          <cx:pt idx="6487">595000</cx:pt>
          <cx:pt idx="6488">594950</cx:pt>
          <cx:pt idx="6489">594950</cx:pt>
          <cx:pt idx="6490">594950</cx:pt>
          <cx:pt idx="6491">594950</cx:pt>
          <cx:pt idx="6492">594866</cx:pt>
          <cx:pt idx="6493">594491</cx:pt>
          <cx:pt idx="6494">594000</cx:pt>
          <cx:pt idx="6495">594000</cx:pt>
          <cx:pt idx="6496">594000</cx:pt>
          <cx:pt idx="6497">594000</cx:pt>
          <cx:pt idx="6498">594000</cx:pt>
          <cx:pt idx="6499">594000</cx:pt>
          <cx:pt idx="6500">593777</cx:pt>
          <cx:pt idx="6501">593700</cx:pt>
          <cx:pt idx="6502">593567</cx:pt>
          <cx:pt idx="6503">593500</cx:pt>
          <cx:pt idx="6504">593500</cx:pt>
          <cx:pt idx="6505">593450</cx:pt>
          <cx:pt idx="6506">593000</cx:pt>
          <cx:pt idx="6507">593000</cx:pt>
          <cx:pt idx="6508">593000</cx:pt>
          <cx:pt idx="6509">592500</cx:pt>
          <cx:pt idx="6510">592500</cx:pt>
          <cx:pt idx="6511">592500</cx:pt>
          <cx:pt idx="6512">592500</cx:pt>
          <cx:pt idx="6513">592500</cx:pt>
          <cx:pt idx="6514">592500</cx:pt>
          <cx:pt idx="6515">592500</cx:pt>
          <cx:pt idx="6516">592500</cx:pt>
          <cx:pt idx="6517">592500</cx:pt>
          <cx:pt idx="6518">592350</cx:pt>
          <cx:pt idx="6519">592100</cx:pt>
          <cx:pt idx="6520">592000</cx:pt>
          <cx:pt idx="6521">592000</cx:pt>
          <cx:pt idx="6522">592000</cx:pt>
          <cx:pt idx="6523">592000</cx:pt>
          <cx:pt idx="6524">591975</cx:pt>
          <cx:pt idx="6525">591500</cx:pt>
          <cx:pt idx="6526">591000</cx:pt>
          <cx:pt idx="6527">591000</cx:pt>
          <cx:pt idx="6528">591000</cx:pt>
          <cx:pt idx="6529">590300</cx:pt>
          <cx:pt idx="6530">590000</cx:pt>
          <cx:pt idx="6531">590000</cx:pt>
          <cx:pt idx="6532">590000</cx:pt>
          <cx:pt idx="6533">590000</cx:pt>
          <cx:pt idx="6534">590000</cx:pt>
          <cx:pt idx="6535">590000</cx:pt>
          <cx:pt idx="6536">590000</cx:pt>
          <cx:pt idx="6537">590000</cx:pt>
          <cx:pt idx="6538">590000</cx:pt>
          <cx:pt idx="6539">590000</cx:pt>
          <cx:pt idx="6540">590000</cx:pt>
          <cx:pt idx="6541">590000</cx:pt>
          <cx:pt idx="6542">590000</cx:pt>
          <cx:pt idx="6543">590000</cx:pt>
          <cx:pt idx="6544">590000</cx:pt>
          <cx:pt idx="6545">590000</cx:pt>
          <cx:pt idx="6546">590000</cx:pt>
          <cx:pt idx="6547">590000</cx:pt>
          <cx:pt idx="6548">590000</cx:pt>
          <cx:pt idx="6549">590000</cx:pt>
          <cx:pt idx="6550">590000</cx:pt>
          <cx:pt idx="6551">590000</cx:pt>
          <cx:pt idx="6552">590000</cx:pt>
          <cx:pt idx="6553">590000</cx:pt>
          <cx:pt idx="6554">590000</cx:pt>
          <cx:pt idx="6555">590000</cx:pt>
          <cx:pt idx="6556">590000</cx:pt>
          <cx:pt idx="6557">590000</cx:pt>
          <cx:pt idx="6558">590000</cx:pt>
          <cx:pt idx="6559">590000</cx:pt>
          <cx:pt idx="6560">590000</cx:pt>
          <cx:pt idx="6561">590000</cx:pt>
          <cx:pt idx="6562">590000</cx:pt>
          <cx:pt idx="6563">590000</cx:pt>
          <cx:pt idx="6564">590000</cx:pt>
          <cx:pt idx="6565">590000</cx:pt>
          <cx:pt idx="6566">590000</cx:pt>
          <cx:pt idx="6567">590000</cx:pt>
          <cx:pt idx="6568">590000</cx:pt>
          <cx:pt idx="6569">590000</cx:pt>
          <cx:pt idx="6570">590000</cx:pt>
          <cx:pt idx="6571">590000</cx:pt>
          <cx:pt idx="6572">590000</cx:pt>
          <cx:pt idx="6573">590000</cx:pt>
          <cx:pt idx="6574">590000</cx:pt>
          <cx:pt idx="6575">590000</cx:pt>
          <cx:pt idx="6576">590000</cx:pt>
          <cx:pt idx="6577">590000</cx:pt>
          <cx:pt idx="6578">590000</cx:pt>
          <cx:pt idx="6579">590000</cx:pt>
          <cx:pt idx="6580">590000</cx:pt>
          <cx:pt idx="6581">590000</cx:pt>
          <cx:pt idx="6582">590000</cx:pt>
          <cx:pt idx="6583">590000</cx:pt>
          <cx:pt idx="6584">589999</cx:pt>
          <cx:pt idx="6585">589950</cx:pt>
          <cx:pt idx="6586">589950</cx:pt>
          <cx:pt idx="6587">589950</cx:pt>
          <cx:pt idx="6588">589950</cx:pt>
          <cx:pt idx="6589">589900</cx:pt>
          <cx:pt idx="6590">589900</cx:pt>
          <cx:pt idx="6591">589500</cx:pt>
          <cx:pt idx="6592">589500</cx:pt>
          <cx:pt idx="6593">589500</cx:pt>
          <cx:pt idx="6594">589500</cx:pt>
          <cx:pt idx="6595">589450</cx:pt>
          <cx:pt idx="6596">589410</cx:pt>
          <cx:pt idx="6597">589000</cx:pt>
          <cx:pt idx="6598">589000</cx:pt>
          <cx:pt idx="6599">589000</cx:pt>
          <cx:pt idx="6600">589000</cx:pt>
          <cx:pt idx="6601">589000</cx:pt>
          <cx:pt idx="6602">589000</cx:pt>
          <cx:pt idx="6603">589000</cx:pt>
          <cx:pt idx="6604">589000</cx:pt>
          <cx:pt idx="6605">589000</cx:pt>
          <cx:pt idx="6606">589000</cx:pt>
          <cx:pt idx="6607">589000</cx:pt>
          <cx:pt idx="6608">589000</cx:pt>
          <cx:pt idx="6609">589000</cx:pt>
          <cx:pt idx="6610">589000</cx:pt>
          <cx:pt idx="6611">589000</cx:pt>
          <cx:pt idx="6612">589000</cx:pt>
          <cx:pt idx="6613">589000</cx:pt>
          <cx:pt idx="6614">589000</cx:pt>
          <cx:pt idx="6615">588500</cx:pt>
          <cx:pt idx="6616">588000</cx:pt>
          <cx:pt idx="6617">588000</cx:pt>
          <cx:pt idx="6618">588000</cx:pt>
          <cx:pt idx="6619">588000</cx:pt>
          <cx:pt idx="6620">588000</cx:pt>
          <cx:pt idx="6621">588000</cx:pt>
          <cx:pt idx="6622">588000</cx:pt>
          <cx:pt idx="6623">588000</cx:pt>
          <cx:pt idx="6624">588000</cx:pt>
          <cx:pt idx="6625">588000</cx:pt>
          <cx:pt idx="6626">588000</cx:pt>
          <cx:pt idx="6627">588000</cx:pt>
          <cx:pt idx="6628">588000</cx:pt>
          <cx:pt idx="6629">587750</cx:pt>
          <cx:pt idx="6630">587500</cx:pt>
          <cx:pt idx="6631">587500</cx:pt>
          <cx:pt idx="6632">587450</cx:pt>
          <cx:pt idx="6633">587206</cx:pt>
          <cx:pt idx="6634">587100</cx:pt>
          <cx:pt idx="6635">587100</cx:pt>
          <cx:pt idx="6636">587000</cx:pt>
          <cx:pt idx="6637">587000</cx:pt>
          <cx:pt idx="6638">587000</cx:pt>
          <cx:pt idx="6639">587000</cx:pt>
          <cx:pt idx="6640">587000</cx:pt>
          <cx:pt idx="6641">587000</cx:pt>
          <cx:pt idx="6642">586500</cx:pt>
          <cx:pt idx="6643">586000</cx:pt>
          <cx:pt idx="6644">586000</cx:pt>
          <cx:pt idx="6645">585888</cx:pt>
          <cx:pt idx="6646">585444</cx:pt>
          <cx:pt idx="6647">585188</cx:pt>
          <cx:pt idx="6648">585083</cx:pt>
          <cx:pt idx="6649">585000</cx:pt>
          <cx:pt idx="6650">585000</cx:pt>
          <cx:pt idx="6651">585000</cx:pt>
          <cx:pt idx="6652">585000</cx:pt>
          <cx:pt idx="6653">585000</cx:pt>
          <cx:pt idx="6654">585000</cx:pt>
          <cx:pt idx="6655">585000</cx:pt>
          <cx:pt idx="6656">585000</cx:pt>
          <cx:pt idx="6657">585000</cx:pt>
          <cx:pt idx="6658">585000</cx:pt>
          <cx:pt idx="6659">585000</cx:pt>
          <cx:pt idx="6660">585000</cx:pt>
          <cx:pt idx="6661">585000</cx:pt>
          <cx:pt idx="6662">585000</cx:pt>
          <cx:pt idx="6663">585000</cx:pt>
          <cx:pt idx="6664">585000</cx:pt>
          <cx:pt idx="6665">585000</cx:pt>
          <cx:pt idx="6666">585000</cx:pt>
          <cx:pt idx="6667">585000</cx:pt>
          <cx:pt idx="6668">585000</cx:pt>
          <cx:pt idx="6669">585000</cx:pt>
          <cx:pt idx="6670">585000</cx:pt>
          <cx:pt idx="6671">585000</cx:pt>
          <cx:pt idx="6672">585000</cx:pt>
          <cx:pt idx="6673">585000</cx:pt>
          <cx:pt idx="6674">585000</cx:pt>
          <cx:pt idx="6675">585000</cx:pt>
          <cx:pt idx="6676">585000</cx:pt>
          <cx:pt idx="6677">585000</cx:pt>
          <cx:pt idx="6678">585000</cx:pt>
          <cx:pt idx="6679">585000</cx:pt>
          <cx:pt idx="6680">585000</cx:pt>
          <cx:pt idx="6681">585000</cx:pt>
          <cx:pt idx="6682">585000</cx:pt>
          <cx:pt idx="6683">585000</cx:pt>
          <cx:pt idx="6684">585000</cx:pt>
          <cx:pt idx="6685">585000</cx:pt>
          <cx:pt idx="6686">585000</cx:pt>
          <cx:pt idx="6687">585000</cx:pt>
          <cx:pt idx="6688">585000</cx:pt>
          <cx:pt idx="6689">585000</cx:pt>
          <cx:pt idx="6690">585000</cx:pt>
          <cx:pt idx="6691">585000</cx:pt>
          <cx:pt idx="6692">585000</cx:pt>
          <cx:pt idx="6693">585000</cx:pt>
          <cx:pt idx="6694">585000</cx:pt>
          <cx:pt idx="6695">585000</cx:pt>
          <cx:pt idx="6696">585000</cx:pt>
          <cx:pt idx="6697">585000</cx:pt>
          <cx:pt idx="6698">585000</cx:pt>
          <cx:pt idx="6699">585000</cx:pt>
          <cx:pt idx="6700">585000</cx:pt>
          <cx:pt idx="6701">585000</cx:pt>
          <cx:pt idx="6702">585000</cx:pt>
          <cx:pt idx="6703">585000</cx:pt>
          <cx:pt idx="6704">585000</cx:pt>
          <cx:pt idx="6705">585000</cx:pt>
          <cx:pt idx="6706">585000</cx:pt>
          <cx:pt idx="6707">585000</cx:pt>
          <cx:pt idx="6708">585000</cx:pt>
          <cx:pt idx="6709">585000</cx:pt>
          <cx:pt idx="6710">585000</cx:pt>
          <cx:pt idx="6711">585000</cx:pt>
          <cx:pt idx="6712">585000</cx:pt>
          <cx:pt idx="6713">585000</cx:pt>
          <cx:pt idx="6714">585000</cx:pt>
          <cx:pt idx="6715">585000</cx:pt>
          <cx:pt idx="6716">585000</cx:pt>
          <cx:pt idx="6717">585000</cx:pt>
          <cx:pt idx="6718">585000</cx:pt>
          <cx:pt idx="6719">585000</cx:pt>
          <cx:pt idx="6720">585000</cx:pt>
          <cx:pt idx="6721">584999</cx:pt>
          <cx:pt idx="6722">584950</cx:pt>
          <cx:pt idx="6723">584000</cx:pt>
          <cx:pt idx="6724">584000</cx:pt>
          <cx:pt idx="6725">583800</cx:pt>
          <cx:pt idx="6726">583500</cx:pt>
          <cx:pt idx="6727">583500</cx:pt>
          <cx:pt idx="6728">583500</cx:pt>
          <cx:pt idx="6729">583500</cx:pt>
          <cx:pt idx="6730">583000</cx:pt>
          <cx:pt idx="6731">583000</cx:pt>
          <cx:pt idx="6732">583000</cx:pt>
          <cx:pt idx="6733">583000</cx:pt>
          <cx:pt idx="6734">583000</cx:pt>
          <cx:pt idx="6735">583000</cx:pt>
          <cx:pt idx="6736">583000</cx:pt>
          <cx:pt idx="6737">583000</cx:pt>
          <cx:pt idx="6738">583000</cx:pt>
          <cx:pt idx="6739">583000</cx:pt>
          <cx:pt idx="6740">582800</cx:pt>
          <cx:pt idx="6741">582500</cx:pt>
          <cx:pt idx="6742">582500</cx:pt>
          <cx:pt idx="6743">582500</cx:pt>
          <cx:pt idx="6744">582500</cx:pt>
          <cx:pt idx="6745">582000</cx:pt>
          <cx:pt idx="6746">582000</cx:pt>
          <cx:pt idx="6747">582000</cx:pt>
          <cx:pt idx="6748">582000</cx:pt>
          <cx:pt idx="6749">582000</cx:pt>
          <cx:pt idx="6750">582000</cx:pt>
          <cx:pt idx="6751">581000</cx:pt>
          <cx:pt idx="6752">581000</cx:pt>
          <cx:pt idx="6753">581000</cx:pt>
          <cx:pt idx="6754">581000</cx:pt>
          <cx:pt idx="6755">581000</cx:pt>
          <cx:pt idx="6756">581000</cx:pt>
          <cx:pt idx="6757">580500</cx:pt>
          <cx:pt idx="6758">580379</cx:pt>
          <cx:pt idx="6759">580135</cx:pt>
          <cx:pt idx="6760">580050</cx:pt>
          <cx:pt idx="6761">580000</cx:pt>
          <cx:pt idx="6762">580000</cx:pt>
          <cx:pt idx="6763">580000</cx:pt>
          <cx:pt idx="6764">580000</cx:pt>
          <cx:pt idx="6765">580000</cx:pt>
          <cx:pt idx="6766">580000</cx:pt>
          <cx:pt idx="6767">580000</cx:pt>
          <cx:pt idx="6768">580000</cx:pt>
          <cx:pt idx="6769">580000</cx:pt>
          <cx:pt idx="6770">580000</cx:pt>
          <cx:pt idx="6771">580000</cx:pt>
          <cx:pt idx="6772">580000</cx:pt>
          <cx:pt idx="6773">580000</cx:pt>
          <cx:pt idx="6774">580000</cx:pt>
          <cx:pt idx="6775">580000</cx:pt>
          <cx:pt idx="6776">580000</cx:pt>
          <cx:pt idx="6777">580000</cx:pt>
          <cx:pt idx="6778">580000</cx:pt>
          <cx:pt idx="6779">580000</cx:pt>
          <cx:pt idx="6780">580000</cx:pt>
          <cx:pt idx="6781">580000</cx:pt>
          <cx:pt idx="6782">580000</cx:pt>
          <cx:pt idx="6783">580000</cx:pt>
          <cx:pt idx="6784">580000</cx:pt>
          <cx:pt idx="6785">580000</cx:pt>
          <cx:pt idx="6786">580000</cx:pt>
          <cx:pt idx="6787">580000</cx:pt>
          <cx:pt idx="6788">580000</cx:pt>
          <cx:pt idx="6789">580000</cx:pt>
          <cx:pt idx="6790">580000</cx:pt>
          <cx:pt idx="6791">580000</cx:pt>
          <cx:pt idx="6792">580000</cx:pt>
          <cx:pt idx="6793">580000</cx:pt>
          <cx:pt idx="6794">580000</cx:pt>
          <cx:pt idx="6795">580000</cx:pt>
          <cx:pt idx="6796">580000</cx:pt>
          <cx:pt idx="6797">580000</cx:pt>
          <cx:pt idx="6798">580000</cx:pt>
          <cx:pt idx="6799">580000</cx:pt>
          <cx:pt idx="6800">580000</cx:pt>
          <cx:pt idx="6801">580000</cx:pt>
          <cx:pt idx="6802">580000</cx:pt>
          <cx:pt idx="6803">580000</cx:pt>
          <cx:pt idx="6804">580000</cx:pt>
          <cx:pt idx="6805">580000</cx:pt>
          <cx:pt idx="6806">580000</cx:pt>
          <cx:pt idx="6807">580000</cx:pt>
          <cx:pt idx="6808">580000</cx:pt>
          <cx:pt idx="6809">580000</cx:pt>
          <cx:pt idx="6810">580000</cx:pt>
          <cx:pt idx="6811">580000</cx:pt>
          <cx:pt idx="6812">580000</cx:pt>
          <cx:pt idx="6813">580000</cx:pt>
          <cx:pt idx="6814">580000</cx:pt>
          <cx:pt idx="6815">580000</cx:pt>
          <cx:pt idx="6816">580000</cx:pt>
          <cx:pt idx="6817">580000</cx:pt>
          <cx:pt idx="6818">580000</cx:pt>
          <cx:pt idx="6819">580000</cx:pt>
          <cx:pt idx="6820">580000</cx:pt>
          <cx:pt idx="6821">580000</cx:pt>
          <cx:pt idx="6822">580000</cx:pt>
          <cx:pt idx="6823">580000</cx:pt>
          <cx:pt idx="6824">580000</cx:pt>
          <cx:pt idx="6825">580000</cx:pt>
          <cx:pt idx="6826">580000</cx:pt>
          <cx:pt idx="6827">580000</cx:pt>
          <cx:pt idx="6828">580000</cx:pt>
          <cx:pt idx="6829">580000</cx:pt>
          <cx:pt idx="6830">580000</cx:pt>
          <cx:pt idx="6831">580000</cx:pt>
          <cx:pt idx="6832">580000</cx:pt>
          <cx:pt idx="6833">580000</cx:pt>
          <cx:pt idx="6834">580000</cx:pt>
          <cx:pt idx="6835">580000</cx:pt>
          <cx:pt idx="6836">579950</cx:pt>
          <cx:pt idx="6837">579950</cx:pt>
          <cx:pt idx="6838">579950</cx:pt>
          <cx:pt idx="6839">579950</cx:pt>
          <cx:pt idx="6840">579950</cx:pt>
          <cx:pt idx="6841">579500</cx:pt>
          <cx:pt idx="6842">579100</cx:pt>
          <cx:pt idx="6843">579000</cx:pt>
          <cx:pt idx="6844">579000</cx:pt>
          <cx:pt idx="6845">579000</cx:pt>
          <cx:pt idx="6846">579000</cx:pt>
          <cx:pt idx="6847">579000</cx:pt>
          <cx:pt idx="6848">579000</cx:pt>
          <cx:pt idx="6849">579000</cx:pt>
          <cx:pt idx="6850">579000</cx:pt>
          <cx:pt idx="6851">579000</cx:pt>
          <cx:pt idx="6852">579000</cx:pt>
          <cx:pt idx="6853">579000</cx:pt>
          <cx:pt idx="6854">579000</cx:pt>
          <cx:pt idx="6855">579000</cx:pt>
          <cx:pt idx="6856">579000</cx:pt>
          <cx:pt idx="6857">579000</cx:pt>
          <cx:pt idx="6858">579000</cx:pt>
          <cx:pt idx="6859">578888</cx:pt>
          <cx:pt idx="6860">578550</cx:pt>
          <cx:pt idx="6861">578500</cx:pt>
          <cx:pt idx="6862">578000</cx:pt>
          <cx:pt idx="6863">578000</cx:pt>
          <cx:pt idx="6864">578000</cx:pt>
          <cx:pt idx="6865">578000</cx:pt>
          <cx:pt idx="6866">578000</cx:pt>
          <cx:pt idx="6867">578000</cx:pt>
          <cx:pt idx="6868">577500</cx:pt>
          <cx:pt idx="6869">577500</cx:pt>
          <cx:pt idx="6870">577500</cx:pt>
          <cx:pt idx="6871">577500</cx:pt>
          <cx:pt idx="6872">577500</cx:pt>
          <cx:pt idx="6873">577450</cx:pt>
          <cx:pt idx="6874">577288</cx:pt>
          <cx:pt idx="6875">577000</cx:pt>
          <cx:pt idx="6876">577000</cx:pt>
          <cx:pt idx="6877">577000</cx:pt>
          <cx:pt idx="6878">577000</cx:pt>
          <cx:pt idx="6879">577000</cx:pt>
          <cx:pt idx="6880">577000</cx:pt>
          <cx:pt idx="6881">577000</cx:pt>
          <cx:pt idx="6882">577000</cx:pt>
          <cx:pt idx="6883">577000</cx:pt>
          <cx:pt idx="6884">577000</cx:pt>
          <cx:pt idx="6885">577000</cx:pt>
          <cx:pt idx="6886">576925</cx:pt>
          <cx:pt idx="6887">576750</cx:pt>
          <cx:pt idx="6888">576250</cx:pt>
          <cx:pt idx="6889">576000</cx:pt>
          <cx:pt idx="6890">576000</cx:pt>
          <cx:pt idx="6891">576000</cx:pt>
          <cx:pt idx="6892">576000</cx:pt>
          <cx:pt idx="6893">576000</cx:pt>
          <cx:pt idx="6894">576000</cx:pt>
          <cx:pt idx="6895">575950</cx:pt>
          <cx:pt idx="6896">575700</cx:pt>
          <cx:pt idx="6897">575575</cx:pt>
          <cx:pt idx="6898">575550</cx:pt>
          <cx:pt idx="6899">575000</cx:pt>
          <cx:pt idx="6900">575000</cx:pt>
          <cx:pt idx="6901">575000</cx:pt>
          <cx:pt idx="6902">575000</cx:pt>
          <cx:pt idx="6903">575000</cx:pt>
          <cx:pt idx="6904">575000</cx:pt>
          <cx:pt idx="6905">575000</cx:pt>
          <cx:pt idx="6906">575000</cx:pt>
          <cx:pt idx="6907">575000</cx:pt>
          <cx:pt idx="6908">575000</cx:pt>
          <cx:pt idx="6909">575000</cx:pt>
          <cx:pt idx="6910">575000</cx:pt>
          <cx:pt idx="6911">575000</cx:pt>
          <cx:pt idx="6912">575000</cx:pt>
          <cx:pt idx="6913">575000</cx:pt>
          <cx:pt idx="6914">575000</cx:pt>
          <cx:pt idx="6915">575000</cx:pt>
          <cx:pt idx="6916">575000</cx:pt>
          <cx:pt idx="6917">575000</cx:pt>
          <cx:pt idx="6918">575000</cx:pt>
          <cx:pt idx="6919">575000</cx:pt>
          <cx:pt idx="6920">575000</cx:pt>
          <cx:pt idx="6921">575000</cx:pt>
          <cx:pt idx="6922">575000</cx:pt>
          <cx:pt idx="6923">575000</cx:pt>
          <cx:pt idx="6924">575000</cx:pt>
          <cx:pt idx="6925">575000</cx:pt>
          <cx:pt idx="6926">575000</cx:pt>
          <cx:pt idx="6927">575000</cx:pt>
          <cx:pt idx="6928">575000</cx:pt>
          <cx:pt idx="6929">575000</cx:pt>
          <cx:pt idx="6930">575000</cx:pt>
          <cx:pt idx="6931">575000</cx:pt>
          <cx:pt idx="6932">575000</cx:pt>
          <cx:pt idx="6933">575000</cx:pt>
          <cx:pt idx="6934">575000</cx:pt>
          <cx:pt idx="6935">575000</cx:pt>
          <cx:pt idx="6936">575000</cx:pt>
          <cx:pt idx="6937">575000</cx:pt>
          <cx:pt idx="6938">575000</cx:pt>
          <cx:pt idx="6939">575000</cx:pt>
          <cx:pt idx="6940">575000</cx:pt>
          <cx:pt idx="6941">575000</cx:pt>
          <cx:pt idx="6942">575000</cx:pt>
          <cx:pt idx="6943">575000</cx:pt>
          <cx:pt idx="6944">575000</cx:pt>
          <cx:pt idx="6945">575000</cx:pt>
          <cx:pt idx="6946">575000</cx:pt>
          <cx:pt idx="6947">575000</cx:pt>
          <cx:pt idx="6948">575000</cx:pt>
          <cx:pt idx="6949">575000</cx:pt>
          <cx:pt idx="6950">575000</cx:pt>
          <cx:pt idx="6951">575000</cx:pt>
          <cx:pt idx="6952">575000</cx:pt>
          <cx:pt idx="6953">575000</cx:pt>
          <cx:pt idx="6954">575000</cx:pt>
          <cx:pt idx="6955">575000</cx:pt>
          <cx:pt idx="6956">575000</cx:pt>
          <cx:pt idx="6957">575000</cx:pt>
          <cx:pt idx="6958">575000</cx:pt>
          <cx:pt idx="6959">575000</cx:pt>
          <cx:pt idx="6960">575000</cx:pt>
          <cx:pt idx="6961">575000</cx:pt>
          <cx:pt idx="6962">575000</cx:pt>
          <cx:pt idx="6963">575000</cx:pt>
          <cx:pt idx="6964">575000</cx:pt>
          <cx:pt idx="6965">575000</cx:pt>
          <cx:pt idx="6966">575000</cx:pt>
          <cx:pt idx="6967">575000</cx:pt>
          <cx:pt idx="6968">575000</cx:pt>
          <cx:pt idx="6969">575000</cx:pt>
          <cx:pt idx="6970">575000</cx:pt>
          <cx:pt idx="6971">575000</cx:pt>
          <cx:pt idx="6972">575000</cx:pt>
          <cx:pt idx="6973">575000</cx:pt>
          <cx:pt idx="6974">575000</cx:pt>
          <cx:pt idx="6975">575000</cx:pt>
          <cx:pt idx="6976">575000</cx:pt>
          <cx:pt idx="6977">575000</cx:pt>
          <cx:pt idx="6978">575000</cx:pt>
          <cx:pt idx="6979">575000</cx:pt>
          <cx:pt idx="6980">575000</cx:pt>
          <cx:pt idx="6981">575000</cx:pt>
          <cx:pt idx="6982">575000</cx:pt>
          <cx:pt idx="6983">575000</cx:pt>
          <cx:pt idx="6984">575000</cx:pt>
          <cx:pt idx="6985">575000</cx:pt>
          <cx:pt idx="6986">575000</cx:pt>
          <cx:pt idx="6987">575000</cx:pt>
          <cx:pt idx="6988">575000</cx:pt>
          <cx:pt idx="6989">575000</cx:pt>
          <cx:pt idx="6990">575000</cx:pt>
          <cx:pt idx="6991">575000</cx:pt>
          <cx:pt idx="6992">574950</cx:pt>
          <cx:pt idx="6993">574800</cx:pt>
          <cx:pt idx="6994">574500</cx:pt>
          <cx:pt idx="6995">574000</cx:pt>
          <cx:pt idx="6996">574000</cx:pt>
          <cx:pt idx="6997">574000</cx:pt>
          <cx:pt idx="6998">574000</cx:pt>
          <cx:pt idx="6999">574000</cx:pt>
          <cx:pt idx="7000">573500</cx:pt>
          <cx:pt idx="7001">573300</cx:pt>
          <cx:pt idx="7002">573000</cx:pt>
          <cx:pt idx="7003">572800</cx:pt>
          <cx:pt idx="7004">572650</cx:pt>
          <cx:pt idx="7005">572500</cx:pt>
          <cx:pt idx="7006">572500</cx:pt>
          <cx:pt idx="7007">572500</cx:pt>
          <cx:pt idx="7008">572500</cx:pt>
          <cx:pt idx="7009">572500</cx:pt>
          <cx:pt idx="7010">572115</cx:pt>
          <cx:pt idx="7011">572000</cx:pt>
          <cx:pt idx="7012">572000</cx:pt>
          <cx:pt idx="7013">572000</cx:pt>
          <cx:pt idx="7014">572000</cx:pt>
          <cx:pt idx="7015">572000</cx:pt>
          <cx:pt idx="7016">572000</cx:pt>
          <cx:pt idx="7017">572000</cx:pt>
          <cx:pt idx="7018">572000</cx:pt>
          <cx:pt idx="7019">572000</cx:pt>
          <cx:pt idx="7020">572000</cx:pt>
          <cx:pt idx="7021">571900</cx:pt>
          <cx:pt idx="7022">571500</cx:pt>
          <cx:pt idx="7023">571500</cx:pt>
          <cx:pt idx="7024">571500</cx:pt>
          <cx:pt idx="7025">571500</cx:pt>
          <cx:pt idx="7026">571000</cx:pt>
          <cx:pt idx="7027">571000</cx:pt>
          <cx:pt idx="7028">571000</cx:pt>
          <cx:pt idx="7029">571000</cx:pt>
          <cx:pt idx="7030">571000</cx:pt>
          <cx:pt idx="7031">571000</cx:pt>
          <cx:pt idx="7032">571000</cx:pt>
          <cx:pt idx="7033">571000</cx:pt>
          <cx:pt idx="7034">570500</cx:pt>
          <cx:pt idx="7035">570000</cx:pt>
          <cx:pt idx="7036">570000</cx:pt>
          <cx:pt idx="7037">570000</cx:pt>
          <cx:pt idx="7038">570000</cx:pt>
          <cx:pt idx="7039">570000</cx:pt>
          <cx:pt idx="7040">570000</cx:pt>
          <cx:pt idx="7041">570000</cx:pt>
          <cx:pt idx="7042">570000</cx:pt>
          <cx:pt idx="7043">570000</cx:pt>
          <cx:pt idx="7044">570000</cx:pt>
          <cx:pt idx="7045">570000</cx:pt>
          <cx:pt idx="7046">570000</cx:pt>
          <cx:pt idx="7047">570000</cx:pt>
          <cx:pt idx="7048">570000</cx:pt>
          <cx:pt idx="7049">570000</cx:pt>
          <cx:pt idx="7050">570000</cx:pt>
          <cx:pt idx="7051">570000</cx:pt>
          <cx:pt idx="7052">570000</cx:pt>
          <cx:pt idx="7053">570000</cx:pt>
          <cx:pt idx="7054">570000</cx:pt>
          <cx:pt idx="7055">570000</cx:pt>
          <cx:pt idx="7056">570000</cx:pt>
          <cx:pt idx="7057">570000</cx:pt>
          <cx:pt idx="7058">570000</cx:pt>
          <cx:pt idx="7059">570000</cx:pt>
          <cx:pt idx="7060">570000</cx:pt>
          <cx:pt idx="7061">570000</cx:pt>
          <cx:pt idx="7062">570000</cx:pt>
          <cx:pt idx="7063">570000</cx:pt>
          <cx:pt idx="7064">570000</cx:pt>
          <cx:pt idx="7065">570000</cx:pt>
          <cx:pt idx="7066">570000</cx:pt>
          <cx:pt idx="7067">570000</cx:pt>
          <cx:pt idx="7068">570000</cx:pt>
          <cx:pt idx="7069">570000</cx:pt>
          <cx:pt idx="7070">570000</cx:pt>
          <cx:pt idx="7071">570000</cx:pt>
          <cx:pt idx="7072">570000</cx:pt>
          <cx:pt idx="7073">570000</cx:pt>
          <cx:pt idx="7074">570000</cx:pt>
          <cx:pt idx="7075">570000</cx:pt>
          <cx:pt idx="7076">570000</cx:pt>
          <cx:pt idx="7077">570000</cx:pt>
          <cx:pt idx="7078">570000</cx:pt>
          <cx:pt idx="7079">570000</cx:pt>
          <cx:pt idx="7080">570000</cx:pt>
          <cx:pt idx="7081">570000</cx:pt>
          <cx:pt idx="7082">570000</cx:pt>
          <cx:pt idx="7083">570000</cx:pt>
          <cx:pt idx="7084">570000</cx:pt>
          <cx:pt idx="7085">570000</cx:pt>
          <cx:pt idx="7086">570000</cx:pt>
          <cx:pt idx="7087">570000</cx:pt>
          <cx:pt idx="7088">570000</cx:pt>
          <cx:pt idx="7089">570000</cx:pt>
          <cx:pt idx="7090">570000</cx:pt>
          <cx:pt idx="7091">570000</cx:pt>
          <cx:pt idx="7092">570000</cx:pt>
          <cx:pt idx="7093">570000</cx:pt>
          <cx:pt idx="7094">570000</cx:pt>
          <cx:pt idx="7095">570000</cx:pt>
          <cx:pt idx="7096">570000</cx:pt>
          <cx:pt idx="7097">570000</cx:pt>
          <cx:pt idx="7098">570000</cx:pt>
          <cx:pt idx="7099">570000</cx:pt>
          <cx:pt idx="7100">570000</cx:pt>
          <cx:pt idx="7101">569999</cx:pt>
          <cx:pt idx="7102">569995</cx:pt>
          <cx:pt idx="7103">569950</cx:pt>
          <cx:pt idx="7104">569950</cx:pt>
          <cx:pt idx="7105">569950</cx:pt>
          <cx:pt idx="7106">569950</cx:pt>
          <cx:pt idx="7107">569950</cx:pt>
          <cx:pt idx="7108">569950</cx:pt>
          <cx:pt idx="7109">569950</cx:pt>
          <cx:pt idx="7110">569900</cx:pt>
          <cx:pt idx="7111">569888</cx:pt>
          <cx:pt idx="7112">569500</cx:pt>
          <cx:pt idx="7113">569500</cx:pt>
          <cx:pt idx="7114">569500</cx:pt>
          <cx:pt idx="7115">569000</cx:pt>
          <cx:pt idx="7116">569000</cx:pt>
          <cx:pt idx="7117">569000</cx:pt>
          <cx:pt idx="7118">569000</cx:pt>
          <cx:pt idx="7119">569000</cx:pt>
          <cx:pt idx="7120">569000</cx:pt>
          <cx:pt idx="7121">569000</cx:pt>
          <cx:pt idx="7122">569000</cx:pt>
          <cx:pt idx="7123">569000</cx:pt>
          <cx:pt idx="7124">568500</cx:pt>
          <cx:pt idx="7125">568500</cx:pt>
          <cx:pt idx="7126">568500</cx:pt>
          <cx:pt idx="7127">568450</cx:pt>
          <cx:pt idx="7128">568000</cx:pt>
          <cx:pt idx="7129">568000</cx:pt>
          <cx:pt idx="7130">568000</cx:pt>
          <cx:pt idx="7131">568000</cx:pt>
          <cx:pt idx="7132">568000</cx:pt>
          <cx:pt idx="7133">568000</cx:pt>
          <cx:pt idx="7134">568000</cx:pt>
          <cx:pt idx="7135">568000</cx:pt>
          <cx:pt idx="7136">568000</cx:pt>
          <cx:pt idx="7137">568000</cx:pt>
          <cx:pt idx="7138">568000</cx:pt>
          <cx:pt idx="7139">568000</cx:pt>
          <cx:pt idx="7140">567500</cx:pt>
          <cx:pt idx="7141">567500</cx:pt>
          <cx:pt idx="7142">567500</cx:pt>
          <cx:pt idx="7143">567500</cx:pt>
          <cx:pt idx="7144">567500</cx:pt>
          <cx:pt idx="7145">567500</cx:pt>
          <cx:pt idx="7146">567500</cx:pt>
          <cx:pt idx="7147">567500</cx:pt>
          <cx:pt idx="7148">567035</cx:pt>
          <cx:pt idx="7149">567000</cx:pt>
          <cx:pt idx="7150">567000</cx:pt>
          <cx:pt idx="7151">567000</cx:pt>
          <cx:pt idx="7152">567000</cx:pt>
          <cx:pt idx="7153">567000</cx:pt>
          <cx:pt idx="7154">567000</cx:pt>
          <cx:pt idx="7155">566950</cx:pt>
          <cx:pt idx="7156">566000</cx:pt>
          <cx:pt idx="7157">566000</cx:pt>
          <cx:pt idx="7158">566000</cx:pt>
          <cx:pt idx="7159">566000</cx:pt>
          <cx:pt idx="7160">566000</cx:pt>
          <cx:pt idx="7161">566000</cx:pt>
          <cx:pt idx="7162">565997</cx:pt>
          <cx:pt idx="7163">565500</cx:pt>
          <cx:pt idx="7164">565000</cx:pt>
          <cx:pt idx="7165">565000</cx:pt>
          <cx:pt idx="7166">565000</cx:pt>
          <cx:pt idx="7167">565000</cx:pt>
          <cx:pt idx="7168">565000</cx:pt>
          <cx:pt idx="7169">565000</cx:pt>
          <cx:pt idx="7170">565000</cx:pt>
          <cx:pt idx="7171">565000</cx:pt>
          <cx:pt idx="7172">565000</cx:pt>
          <cx:pt idx="7173">565000</cx:pt>
          <cx:pt idx="7174">565000</cx:pt>
          <cx:pt idx="7175">565000</cx:pt>
          <cx:pt idx="7176">565000</cx:pt>
          <cx:pt idx="7177">565000</cx:pt>
          <cx:pt idx="7178">565000</cx:pt>
          <cx:pt idx="7179">565000</cx:pt>
          <cx:pt idx="7180">565000</cx:pt>
          <cx:pt idx="7181">565000</cx:pt>
          <cx:pt idx="7182">565000</cx:pt>
          <cx:pt idx="7183">565000</cx:pt>
          <cx:pt idx="7184">565000</cx:pt>
          <cx:pt idx="7185">565000</cx:pt>
          <cx:pt idx="7186">565000</cx:pt>
          <cx:pt idx="7187">565000</cx:pt>
          <cx:pt idx="7188">565000</cx:pt>
          <cx:pt idx="7189">565000</cx:pt>
          <cx:pt idx="7190">565000</cx:pt>
          <cx:pt idx="7191">565000</cx:pt>
          <cx:pt idx="7192">565000</cx:pt>
          <cx:pt idx="7193">565000</cx:pt>
          <cx:pt idx="7194">565000</cx:pt>
          <cx:pt idx="7195">565000</cx:pt>
          <cx:pt idx="7196">565000</cx:pt>
          <cx:pt idx="7197">565000</cx:pt>
          <cx:pt idx="7198">565000</cx:pt>
          <cx:pt idx="7199">565000</cx:pt>
          <cx:pt idx="7200">565000</cx:pt>
          <cx:pt idx="7201">565000</cx:pt>
          <cx:pt idx="7202">565000</cx:pt>
          <cx:pt idx="7203">565000</cx:pt>
          <cx:pt idx="7204">565000</cx:pt>
          <cx:pt idx="7205">565000</cx:pt>
          <cx:pt idx="7206">565000</cx:pt>
          <cx:pt idx="7207">565000</cx:pt>
          <cx:pt idx="7208">565000</cx:pt>
          <cx:pt idx="7209">565000</cx:pt>
          <cx:pt idx="7210">565000</cx:pt>
          <cx:pt idx="7211">565000</cx:pt>
          <cx:pt idx="7212">565000</cx:pt>
          <cx:pt idx="7213">565000</cx:pt>
          <cx:pt idx="7214">565000</cx:pt>
          <cx:pt idx="7215">565000</cx:pt>
          <cx:pt idx="7216">565000</cx:pt>
          <cx:pt idx="7217">565000</cx:pt>
          <cx:pt idx="7218">565000</cx:pt>
          <cx:pt idx="7219">565000</cx:pt>
          <cx:pt idx="7220">565000</cx:pt>
          <cx:pt idx="7221">565000</cx:pt>
          <cx:pt idx="7222">565000</cx:pt>
          <cx:pt idx="7223">565000</cx:pt>
          <cx:pt idx="7224">565000</cx:pt>
          <cx:pt idx="7225">565000</cx:pt>
          <cx:pt idx="7226">565000</cx:pt>
          <cx:pt idx="7227">565000</cx:pt>
          <cx:pt idx="7228">565000</cx:pt>
          <cx:pt idx="7229">565000</cx:pt>
          <cx:pt idx="7230">565000</cx:pt>
          <cx:pt idx="7231">565000</cx:pt>
          <cx:pt idx="7232">565000</cx:pt>
          <cx:pt idx="7233">565000</cx:pt>
          <cx:pt idx="7234">564950</cx:pt>
          <cx:pt idx="7235">564800</cx:pt>
          <cx:pt idx="7236">564500</cx:pt>
          <cx:pt idx="7237">564500</cx:pt>
          <cx:pt idx="7238">564450</cx:pt>
          <cx:pt idx="7239">564000</cx:pt>
          <cx:pt idx="7240">564000</cx:pt>
          <cx:pt idx="7241">564000</cx:pt>
          <cx:pt idx="7242">564000</cx:pt>
          <cx:pt idx="7243">564000</cx:pt>
          <cx:pt idx="7244">564000</cx:pt>
          <cx:pt idx="7245">563950</cx:pt>
          <cx:pt idx="7246">563750</cx:pt>
          <cx:pt idx="7247">563500</cx:pt>
          <cx:pt idx="7248">563500</cx:pt>
          <cx:pt idx="7249">563500</cx:pt>
          <cx:pt idx="7250">563500</cx:pt>
          <cx:pt idx="7251">563500</cx:pt>
          <cx:pt idx="7252">563250</cx:pt>
          <cx:pt idx="7253">563225</cx:pt>
          <cx:pt idx="7254">563000</cx:pt>
          <cx:pt idx="7255">563000</cx:pt>
          <cx:pt idx="7256">563000</cx:pt>
          <cx:pt idx="7257">563000</cx:pt>
          <cx:pt idx="7258">563000</cx:pt>
          <cx:pt idx="7259">563000</cx:pt>
          <cx:pt idx="7260">563000</cx:pt>
          <cx:pt idx="7261">562500</cx:pt>
          <cx:pt idx="7262">562500</cx:pt>
          <cx:pt idx="7263">562500</cx:pt>
          <cx:pt idx="7264">562500</cx:pt>
          <cx:pt idx="7265">562500</cx:pt>
          <cx:pt idx="7266">562500</cx:pt>
          <cx:pt idx="7267">562200</cx:pt>
          <cx:pt idx="7268">562100</cx:pt>
          <cx:pt idx="7269">562100</cx:pt>
          <cx:pt idx="7270">562000</cx:pt>
          <cx:pt idx="7271">562000</cx:pt>
          <cx:pt idx="7272">562000</cx:pt>
          <cx:pt idx="7273">562000</cx:pt>
          <cx:pt idx="7274">562000</cx:pt>
          <cx:pt idx="7275">562000</cx:pt>
          <cx:pt idx="7276">562000</cx:pt>
          <cx:pt idx="7277">562000</cx:pt>
          <cx:pt idx="7278">562000</cx:pt>
          <cx:pt idx="7279">562000</cx:pt>
          <cx:pt idx="7280">562000</cx:pt>
          <cx:pt idx="7281">562000</cx:pt>
          <cx:pt idx="7282">562000</cx:pt>
          <cx:pt idx="7283">561750</cx:pt>
          <cx:pt idx="7284">561600</cx:pt>
          <cx:pt idx="7285">561500</cx:pt>
          <cx:pt idx="7286">561500</cx:pt>
          <cx:pt idx="7287">561000</cx:pt>
          <cx:pt idx="7288">561000</cx:pt>
          <cx:pt idx="7289">561000</cx:pt>
          <cx:pt idx="7290">561000</cx:pt>
          <cx:pt idx="7291">561000</cx:pt>
          <cx:pt idx="7292">561000</cx:pt>
          <cx:pt idx="7293">561000</cx:pt>
          <cx:pt idx="7294">561000</cx:pt>
          <cx:pt idx="7295">560200</cx:pt>
          <cx:pt idx="7296">560000</cx:pt>
          <cx:pt idx="7297">560000</cx:pt>
          <cx:pt idx="7298">560000</cx:pt>
          <cx:pt idx="7299">560000</cx:pt>
          <cx:pt idx="7300">560000</cx:pt>
          <cx:pt idx="7301">560000</cx:pt>
          <cx:pt idx="7302">560000</cx:pt>
          <cx:pt idx="7303">560000</cx:pt>
          <cx:pt idx="7304">560000</cx:pt>
          <cx:pt idx="7305">560000</cx:pt>
          <cx:pt idx="7306">560000</cx:pt>
          <cx:pt idx="7307">560000</cx:pt>
          <cx:pt idx="7308">560000</cx:pt>
          <cx:pt idx="7309">560000</cx:pt>
          <cx:pt idx="7310">560000</cx:pt>
          <cx:pt idx="7311">560000</cx:pt>
          <cx:pt idx="7312">560000</cx:pt>
          <cx:pt idx="7313">560000</cx:pt>
          <cx:pt idx="7314">560000</cx:pt>
          <cx:pt idx="7315">560000</cx:pt>
          <cx:pt idx="7316">560000</cx:pt>
          <cx:pt idx="7317">560000</cx:pt>
          <cx:pt idx="7318">560000</cx:pt>
          <cx:pt idx="7319">560000</cx:pt>
          <cx:pt idx="7320">560000</cx:pt>
          <cx:pt idx="7321">560000</cx:pt>
          <cx:pt idx="7322">560000</cx:pt>
          <cx:pt idx="7323">560000</cx:pt>
          <cx:pt idx="7324">560000</cx:pt>
          <cx:pt idx="7325">560000</cx:pt>
          <cx:pt idx="7326">560000</cx:pt>
          <cx:pt idx="7327">560000</cx:pt>
          <cx:pt idx="7328">560000</cx:pt>
          <cx:pt idx="7329">560000</cx:pt>
          <cx:pt idx="7330">560000</cx:pt>
          <cx:pt idx="7331">560000</cx:pt>
          <cx:pt idx="7332">560000</cx:pt>
          <cx:pt idx="7333">560000</cx:pt>
          <cx:pt idx="7334">560000</cx:pt>
          <cx:pt idx="7335">560000</cx:pt>
          <cx:pt idx="7336">560000</cx:pt>
          <cx:pt idx="7337">560000</cx:pt>
          <cx:pt idx="7338">560000</cx:pt>
          <cx:pt idx="7339">560000</cx:pt>
          <cx:pt idx="7340">560000</cx:pt>
          <cx:pt idx="7341">560000</cx:pt>
          <cx:pt idx="7342">560000</cx:pt>
          <cx:pt idx="7343">560000</cx:pt>
          <cx:pt idx="7344">560000</cx:pt>
          <cx:pt idx="7345">560000</cx:pt>
          <cx:pt idx="7346">560000</cx:pt>
          <cx:pt idx="7347">560000</cx:pt>
          <cx:pt idx="7348">560000</cx:pt>
          <cx:pt idx="7349">560000</cx:pt>
          <cx:pt idx="7350">560000</cx:pt>
          <cx:pt idx="7351">560000</cx:pt>
          <cx:pt idx="7352">560000</cx:pt>
          <cx:pt idx="7353">560000</cx:pt>
          <cx:pt idx="7354">560000</cx:pt>
          <cx:pt idx="7355">560000</cx:pt>
          <cx:pt idx="7356">560000</cx:pt>
          <cx:pt idx="7357">560000</cx:pt>
          <cx:pt idx="7358">560000</cx:pt>
          <cx:pt idx="7359">560000</cx:pt>
          <cx:pt idx="7360">560000</cx:pt>
          <cx:pt idx="7361">560000</cx:pt>
          <cx:pt idx="7362">560000</cx:pt>
          <cx:pt idx="7363">560000</cx:pt>
          <cx:pt idx="7364">560000</cx:pt>
          <cx:pt idx="7365">560000</cx:pt>
          <cx:pt idx="7366">560000</cx:pt>
          <cx:pt idx="7367">560000</cx:pt>
          <cx:pt idx="7368">560000</cx:pt>
          <cx:pt idx="7369">560000</cx:pt>
          <cx:pt idx="7370">560000</cx:pt>
          <cx:pt idx="7371">560000</cx:pt>
          <cx:pt idx="7372">559950</cx:pt>
          <cx:pt idx="7373">559950</cx:pt>
          <cx:pt idx="7374">559950</cx:pt>
          <cx:pt idx="7375">559950</cx:pt>
          <cx:pt idx="7376">559950</cx:pt>
          <cx:pt idx="7377">559950</cx:pt>
          <cx:pt idx="7378">559950</cx:pt>
          <cx:pt idx="7379">559900</cx:pt>
          <cx:pt idx="7380">559900</cx:pt>
          <cx:pt idx="7381">559630</cx:pt>
          <cx:pt idx="7382">559500</cx:pt>
          <cx:pt idx="7383">559500</cx:pt>
          <cx:pt idx="7384">559000</cx:pt>
          <cx:pt idx="7385">559000</cx:pt>
          <cx:pt idx="7386">559000</cx:pt>
          <cx:pt idx="7387">559000</cx:pt>
          <cx:pt idx="7388">559000</cx:pt>
          <cx:pt idx="7389">559000</cx:pt>
          <cx:pt idx="7390">559000</cx:pt>
          <cx:pt idx="7391">559000</cx:pt>
          <cx:pt idx="7392">559000</cx:pt>
          <cx:pt idx="7393">558000</cx:pt>
          <cx:pt idx="7394">558000</cx:pt>
          <cx:pt idx="7395">558000</cx:pt>
          <cx:pt idx="7396">558000</cx:pt>
          <cx:pt idx="7397">558000</cx:pt>
          <cx:pt idx="7398">558000</cx:pt>
          <cx:pt idx="7399">558000</cx:pt>
          <cx:pt idx="7400">558000</cx:pt>
          <cx:pt idx="7401">557865</cx:pt>
          <cx:pt idx="7402">557800</cx:pt>
          <cx:pt idx="7403">557510</cx:pt>
          <cx:pt idx="7404">557500</cx:pt>
          <cx:pt idx="7405">557500</cx:pt>
          <cx:pt idx="7406">557500</cx:pt>
          <cx:pt idx="7407">557500</cx:pt>
          <cx:pt idx="7408">557500</cx:pt>
          <cx:pt idx="7409">557500</cx:pt>
          <cx:pt idx="7410">557000</cx:pt>
          <cx:pt idx="7411">557000</cx:pt>
          <cx:pt idx="7412">557000</cx:pt>
          <cx:pt idx="7413">557000</cx:pt>
          <cx:pt idx="7414">557000</cx:pt>
          <cx:pt idx="7415">557000</cx:pt>
          <cx:pt idx="7416">556300</cx:pt>
          <cx:pt idx="7417">556000</cx:pt>
          <cx:pt idx="7418">556000</cx:pt>
          <cx:pt idx="7419">556000</cx:pt>
          <cx:pt idx="7420">556000</cx:pt>
          <cx:pt idx="7421">556000</cx:pt>
          <cx:pt idx="7422">556000</cx:pt>
          <cx:pt idx="7423">556000</cx:pt>
          <cx:pt idx="7424">556000</cx:pt>
          <cx:pt idx="7425">556000</cx:pt>
          <cx:pt idx="7426">555950</cx:pt>
          <cx:pt idx="7427">555750</cx:pt>
          <cx:pt idx="7428">555700</cx:pt>
          <cx:pt idx="7429">555565</cx:pt>
          <cx:pt idx="7430">555500</cx:pt>
          <cx:pt idx="7431">555000</cx:pt>
          <cx:pt idx="7432">555000</cx:pt>
          <cx:pt idx="7433">555000</cx:pt>
          <cx:pt idx="7434">555000</cx:pt>
          <cx:pt idx="7435">555000</cx:pt>
          <cx:pt idx="7436">555000</cx:pt>
          <cx:pt idx="7437">555000</cx:pt>
          <cx:pt idx="7438">555000</cx:pt>
          <cx:pt idx="7439">555000</cx:pt>
          <cx:pt idx="7440">555000</cx:pt>
          <cx:pt idx="7441">555000</cx:pt>
          <cx:pt idx="7442">555000</cx:pt>
          <cx:pt idx="7443">555000</cx:pt>
          <cx:pt idx="7444">555000</cx:pt>
          <cx:pt idx="7445">555000</cx:pt>
          <cx:pt idx="7446">555000</cx:pt>
          <cx:pt idx="7447">555000</cx:pt>
          <cx:pt idx="7448">555000</cx:pt>
          <cx:pt idx="7449">555000</cx:pt>
          <cx:pt idx="7450">555000</cx:pt>
          <cx:pt idx="7451">555000</cx:pt>
          <cx:pt idx="7452">555000</cx:pt>
          <cx:pt idx="7453">555000</cx:pt>
          <cx:pt idx="7454">555000</cx:pt>
          <cx:pt idx="7455">555000</cx:pt>
          <cx:pt idx="7456">555000</cx:pt>
          <cx:pt idx="7457">555000</cx:pt>
          <cx:pt idx="7458">555000</cx:pt>
          <cx:pt idx="7459">555000</cx:pt>
          <cx:pt idx="7460">555000</cx:pt>
          <cx:pt idx="7461">555000</cx:pt>
          <cx:pt idx="7462">555000</cx:pt>
          <cx:pt idx="7463">555000</cx:pt>
          <cx:pt idx="7464">555000</cx:pt>
          <cx:pt idx="7465">555000</cx:pt>
          <cx:pt idx="7466">555000</cx:pt>
          <cx:pt idx="7467">555000</cx:pt>
          <cx:pt idx="7468">555000</cx:pt>
          <cx:pt idx="7469">555000</cx:pt>
          <cx:pt idx="7470">555000</cx:pt>
          <cx:pt idx="7471">555000</cx:pt>
          <cx:pt idx="7472">555000</cx:pt>
          <cx:pt idx="7473">555000</cx:pt>
          <cx:pt idx="7474">555000</cx:pt>
          <cx:pt idx="7475">555000</cx:pt>
          <cx:pt idx="7476">555000</cx:pt>
          <cx:pt idx="7477">555000</cx:pt>
          <cx:pt idx="7478">555000</cx:pt>
          <cx:pt idx="7479">555000</cx:pt>
          <cx:pt idx="7480">554990</cx:pt>
          <cx:pt idx="7481">554950</cx:pt>
          <cx:pt idx="7482">554950</cx:pt>
          <cx:pt idx="7483">554820</cx:pt>
          <cx:pt idx="7484">554729</cx:pt>
          <cx:pt idx="7485">554663</cx:pt>
          <cx:pt idx="7486">554600</cx:pt>
          <cx:pt idx="7487">554500</cx:pt>
          <cx:pt idx="7488">554000</cx:pt>
          <cx:pt idx="7489">554000</cx:pt>
          <cx:pt idx="7490">554000</cx:pt>
          <cx:pt idx="7491">554000</cx:pt>
          <cx:pt idx="7492">554000</cx:pt>
          <cx:pt idx="7493">554000</cx:pt>
          <cx:pt idx="7494">554000</cx:pt>
          <cx:pt idx="7495">554000</cx:pt>
          <cx:pt idx="7496">554000</cx:pt>
          <cx:pt idx="7497">554000</cx:pt>
          <cx:pt idx="7498">554000</cx:pt>
          <cx:pt idx="7499">554000</cx:pt>
          <cx:pt idx="7500">554000</cx:pt>
          <cx:pt idx="7501">553650</cx:pt>
          <cx:pt idx="7502">553500</cx:pt>
          <cx:pt idx="7503">553000</cx:pt>
          <cx:pt idx="7504">553000</cx:pt>
          <cx:pt idx="7505">553000</cx:pt>
          <cx:pt idx="7506">553000</cx:pt>
          <cx:pt idx="7507">553000</cx:pt>
          <cx:pt idx="7508">553000</cx:pt>
          <cx:pt idx="7509">552900</cx:pt>
          <cx:pt idx="7510">552775</cx:pt>
          <cx:pt idx="7511">552700</cx:pt>
          <cx:pt idx="7512">552625</cx:pt>
          <cx:pt idx="7513">552500</cx:pt>
          <cx:pt idx="7514">552500</cx:pt>
          <cx:pt idx="7515">552500</cx:pt>
          <cx:pt idx="7516">552500</cx:pt>
          <cx:pt idx="7517">552500</cx:pt>
          <cx:pt idx="7518">552500</cx:pt>
          <cx:pt idx="7519">552500</cx:pt>
          <cx:pt idx="7520">552500</cx:pt>
          <cx:pt idx="7521">552500</cx:pt>
          <cx:pt idx="7522">552500</cx:pt>
          <cx:pt idx="7523">552321</cx:pt>
          <cx:pt idx="7524">552250</cx:pt>
          <cx:pt idx="7525">552100</cx:pt>
          <cx:pt idx="7526">552000</cx:pt>
          <cx:pt idx="7527">552000</cx:pt>
          <cx:pt idx="7528">552000</cx:pt>
          <cx:pt idx="7529">552000</cx:pt>
          <cx:pt idx="7530">552000</cx:pt>
          <cx:pt idx="7531">552000</cx:pt>
          <cx:pt idx="7532">552000</cx:pt>
          <cx:pt idx="7533">551870</cx:pt>
          <cx:pt idx="7534">551500</cx:pt>
          <cx:pt idx="7535">551100</cx:pt>
          <cx:pt idx="7536">551000</cx:pt>
          <cx:pt idx="7537">551000</cx:pt>
          <cx:pt idx="7538">551000</cx:pt>
          <cx:pt idx="7539">551000</cx:pt>
          <cx:pt idx="7540">551000</cx:pt>
          <cx:pt idx="7541">551000</cx:pt>
          <cx:pt idx="7542">551000</cx:pt>
          <cx:pt idx="7543">551000</cx:pt>
          <cx:pt idx="7544">551000</cx:pt>
          <cx:pt idx="7545">550700</cx:pt>
          <cx:pt idx="7546">550700</cx:pt>
          <cx:pt idx="7547">550500</cx:pt>
          <cx:pt idx="7548">550500</cx:pt>
          <cx:pt idx="7549">550388</cx:pt>
          <cx:pt idx="7550">550285</cx:pt>
          <cx:pt idx="7551">550120</cx:pt>
          <cx:pt idx="7552">550000</cx:pt>
          <cx:pt idx="7553">550000</cx:pt>
          <cx:pt idx="7554">550000</cx:pt>
          <cx:pt idx="7555">550000</cx:pt>
          <cx:pt idx="7556">550000</cx:pt>
          <cx:pt idx="7557">550000</cx:pt>
          <cx:pt idx="7558">550000</cx:pt>
          <cx:pt idx="7559">550000</cx:pt>
          <cx:pt idx="7560">550000</cx:pt>
          <cx:pt idx="7561">550000</cx:pt>
          <cx:pt idx="7562">550000</cx:pt>
          <cx:pt idx="7563">550000</cx:pt>
          <cx:pt idx="7564">550000</cx:pt>
          <cx:pt idx="7565">550000</cx:pt>
          <cx:pt idx="7566">550000</cx:pt>
          <cx:pt idx="7567">550000</cx:pt>
          <cx:pt idx="7568">550000</cx:pt>
          <cx:pt idx="7569">550000</cx:pt>
          <cx:pt idx="7570">550000</cx:pt>
          <cx:pt idx="7571">550000</cx:pt>
          <cx:pt idx="7572">550000</cx:pt>
          <cx:pt idx="7573">550000</cx:pt>
          <cx:pt idx="7574">550000</cx:pt>
          <cx:pt idx="7575">550000</cx:pt>
          <cx:pt idx="7576">550000</cx:pt>
          <cx:pt idx="7577">550000</cx:pt>
          <cx:pt idx="7578">550000</cx:pt>
          <cx:pt idx="7579">550000</cx:pt>
          <cx:pt idx="7580">550000</cx:pt>
          <cx:pt idx="7581">550000</cx:pt>
          <cx:pt idx="7582">550000</cx:pt>
          <cx:pt idx="7583">550000</cx:pt>
          <cx:pt idx="7584">550000</cx:pt>
          <cx:pt idx="7585">550000</cx:pt>
          <cx:pt idx="7586">550000</cx:pt>
          <cx:pt idx="7587">550000</cx:pt>
          <cx:pt idx="7588">550000</cx:pt>
          <cx:pt idx="7589">550000</cx:pt>
          <cx:pt idx="7590">550000</cx:pt>
          <cx:pt idx="7591">550000</cx:pt>
          <cx:pt idx="7592">550000</cx:pt>
          <cx:pt idx="7593">550000</cx:pt>
          <cx:pt idx="7594">550000</cx:pt>
          <cx:pt idx="7595">550000</cx:pt>
          <cx:pt idx="7596">550000</cx:pt>
          <cx:pt idx="7597">550000</cx:pt>
          <cx:pt idx="7598">550000</cx:pt>
          <cx:pt idx="7599">550000</cx:pt>
          <cx:pt idx="7600">550000</cx:pt>
          <cx:pt idx="7601">550000</cx:pt>
          <cx:pt idx="7602">550000</cx:pt>
          <cx:pt idx="7603">550000</cx:pt>
          <cx:pt idx="7604">550000</cx:pt>
          <cx:pt idx="7605">550000</cx:pt>
          <cx:pt idx="7606">550000</cx:pt>
          <cx:pt idx="7607">550000</cx:pt>
          <cx:pt idx="7608">550000</cx:pt>
          <cx:pt idx="7609">550000</cx:pt>
          <cx:pt idx="7610">550000</cx:pt>
          <cx:pt idx="7611">550000</cx:pt>
          <cx:pt idx="7612">550000</cx:pt>
          <cx:pt idx="7613">550000</cx:pt>
          <cx:pt idx="7614">550000</cx:pt>
          <cx:pt idx="7615">550000</cx:pt>
          <cx:pt idx="7616">550000</cx:pt>
          <cx:pt idx="7617">550000</cx:pt>
          <cx:pt idx="7618">550000</cx:pt>
          <cx:pt idx="7619">550000</cx:pt>
          <cx:pt idx="7620">550000</cx:pt>
          <cx:pt idx="7621">550000</cx:pt>
          <cx:pt idx="7622">550000</cx:pt>
          <cx:pt idx="7623">550000</cx:pt>
          <cx:pt idx="7624">550000</cx:pt>
          <cx:pt idx="7625">550000</cx:pt>
          <cx:pt idx="7626">550000</cx:pt>
          <cx:pt idx="7627">550000</cx:pt>
          <cx:pt idx="7628">550000</cx:pt>
          <cx:pt idx="7629">550000</cx:pt>
          <cx:pt idx="7630">550000</cx:pt>
          <cx:pt idx="7631">550000</cx:pt>
          <cx:pt idx="7632">550000</cx:pt>
          <cx:pt idx="7633">550000</cx:pt>
          <cx:pt idx="7634">550000</cx:pt>
          <cx:pt idx="7635">550000</cx:pt>
          <cx:pt idx="7636">550000</cx:pt>
          <cx:pt idx="7637">550000</cx:pt>
          <cx:pt idx="7638">550000</cx:pt>
          <cx:pt idx="7639">550000</cx:pt>
          <cx:pt idx="7640">550000</cx:pt>
          <cx:pt idx="7641">550000</cx:pt>
          <cx:pt idx="7642">550000</cx:pt>
          <cx:pt idx="7643">550000</cx:pt>
          <cx:pt idx="7644">550000</cx:pt>
          <cx:pt idx="7645">550000</cx:pt>
          <cx:pt idx="7646">550000</cx:pt>
          <cx:pt idx="7647">550000</cx:pt>
          <cx:pt idx="7648">550000</cx:pt>
          <cx:pt idx="7649">550000</cx:pt>
          <cx:pt idx="7650">550000</cx:pt>
          <cx:pt idx="7651">550000</cx:pt>
          <cx:pt idx="7652">550000</cx:pt>
          <cx:pt idx="7653">550000</cx:pt>
          <cx:pt idx="7654">550000</cx:pt>
          <cx:pt idx="7655">550000</cx:pt>
          <cx:pt idx="7656">550000</cx:pt>
          <cx:pt idx="7657">550000</cx:pt>
          <cx:pt idx="7658">550000</cx:pt>
          <cx:pt idx="7659">550000</cx:pt>
          <cx:pt idx="7660">550000</cx:pt>
          <cx:pt idx="7661">550000</cx:pt>
          <cx:pt idx="7662">550000</cx:pt>
          <cx:pt idx="7663">550000</cx:pt>
          <cx:pt idx="7664">550000</cx:pt>
          <cx:pt idx="7665">550000</cx:pt>
          <cx:pt idx="7666">550000</cx:pt>
          <cx:pt idx="7667">550000</cx:pt>
          <cx:pt idx="7668">550000</cx:pt>
          <cx:pt idx="7669">550000</cx:pt>
          <cx:pt idx="7670">550000</cx:pt>
          <cx:pt idx="7671">550000</cx:pt>
          <cx:pt idx="7672">550000</cx:pt>
          <cx:pt idx="7673">550000</cx:pt>
          <cx:pt idx="7674">550000</cx:pt>
          <cx:pt idx="7675">550000</cx:pt>
          <cx:pt idx="7676">550000</cx:pt>
          <cx:pt idx="7677">550000</cx:pt>
          <cx:pt idx="7678">550000</cx:pt>
          <cx:pt idx="7679">550000</cx:pt>
          <cx:pt idx="7680">550000</cx:pt>
          <cx:pt idx="7681">550000</cx:pt>
          <cx:pt idx="7682">550000</cx:pt>
          <cx:pt idx="7683">550000</cx:pt>
          <cx:pt idx="7684">550000</cx:pt>
          <cx:pt idx="7685">550000</cx:pt>
          <cx:pt idx="7686">550000</cx:pt>
          <cx:pt idx="7687">550000</cx:pt>
          <cx:pt idx="7688">550000</cx:pt>
          <cx:pt idx="7689">550000</cx:pt>
          <cx:pt idx="7690">550000</cx:pt>
          <cx:pt idx="7691">550000</cx:pt>
          <cx:pt idx="7692">550000</cx:pt>
          <cx:pt idx="7693">550000</cx:pt>
          <cx:pt idx="7694">550000</cx:pt>
          <cx:pt idx="7695">550000</cx:pt>
          <cx:pt idx="7696">550000</cx:pt>
          <cx:pt idx="7697">550000</cx:pt>
          <cx:pt idx="7698">550000</cx:pt>
          <cx:pt idx="7699">550000</cx:pt>
          <cx:pt idx="7700">550000</cx:pt>
          <cx:pt idx="7701">550000</cx:pt>
          <cx:pt idx="7702">550000</cx:pt>
          <cx:pt idx="7703">550000</cx:pt>
          <cx:pt idx="7704">550000</cx:pt>
          <cx:pt idx="7705">550000</cx:pt>
          <cx:pt idx="7706">550000</cx:pt>
          <cx:pt idx="7707">550000</cx:pt>
          <cx:pt idx="7708">550000</cx:pt>
          <cx:pt idx="7709">550000</cx:pt>
          <cx:pt idx="7710">550000</cx:pt>
          <cx:pt idx="7711">549995</cx:pt>
          <cx:pt idx="7712">549995</cx:pt>
          <cx:pt idx="7713">549995</cx:pt>
          <cx:pt idx="7714">549950</cx:pt>
          <cx:pt idx="7715">549950</cx:pt>
          <cx:pt idx="7716">549950</cx:pt>
          <cx:pt idx="7717">549950</cx:pt>
          <cx:pt idx="7718">549950</cx:pt>
          <cx:pt idx="7719">549950</cx:pt>
          <cx:pt idx="7720">549950</cx:pt>
          <cx:pt idx="7721">549950</cx:pt>
          <cx:pt idx="7722">549950</cx:pt>
          <cx:pt idx="7723">549950</cx:pt>
          <cx:pt idx="7724">549950</cx:pt>
          <cx:pt idx="7725">549950</cx:pt>
          <cx:pt idx="7726">549900</cx:pt>
          <cx:pt idx="7727">549900</cx:pt>
          <cx:pt idx="7728">549900</cx:pt>
          <cx:pt idx="7729">549900</cx:pt>
          <cx:pt idx="7730">549900</cx:pt>
          <cx:pt idx="7731">549900</cx:pt>
          <cx:pt idx="7732">549900</cx:pt>
          <cx:pt idx="7733">549900</cx:pt>
          <cx:pt idx="7734">549800</cx:pt>
          <cx:pt idx="7735">549500</cx:pt>
          <cx:pt idx="7736">549010</cx:pt>
          <cx:pt idx="7737">549000</cx:pt>
          <cx:pt idx="7738">549000</cx:pt>
          <cx:pt idx="7739">549000</cx:pt>
          <cx:pt idx="7740">549000</cx:pt>
          <cx:pt idx="7741">549000</cx:pt>
          <cx:pt idx="7742">549000</cx:pt>
          <cx:pt idx="7743">549000</cx:pt>
          <cx:pt idx="7744">549000</cx:pt>
          <cx:pt idx="7745">549000</cx:pt>
          <cx:pt idx="7746">549000</cx:pt>
          <cx:pt idx="7747">549000</cx:pt>
          <cx:pt idx="7748">549000</cx:pt>
          <cx:pt idx="7749">549000</cx:pt>
          <cx:pt idx="7750">549000</cx:pt>
          <cx:pt idx="7751">549000</cx:pt>
          <cx:pt idx="7752">549000</cx:pt>
          <cx:pt idx="7753">549000</cx:pt>
          <cx:pt idx="7754">549000</cx:pt>
          <cx:pt idx="7755">549000</cx:pt>
          <cx:pt idx="7756">549000</cx:pt>
          <cx:pt idx="7757">548800</cx:pt>
          <cx:pt idx="7758">548500</cx:pt>
          <cx:pt idx="7759">548500</cx:pt>
          <cx:pt idx="7760">548050</cx:pt>
          <cx:pt idx="7761">548000</cx:pt>
          <cx:pt idx="7762">548000</cx:pt>
          <cx:pt idx="7763">548000</cx:pt>
          <cx:pt idx="7764">548000</cx:pt>
          <cx:pt idx="7765">548000</cx:pt>
          <cx:pt idx="7766">548000</cx:pt>
          <cx:pt idx="7767">548000</cx:pt>
          <cx:pt idx="7768">548000</cx:pt>
          <cx:pt idx="7769">547500</cx:pt>
          <cx:pt idx="7770">547500</cx:pt>
          <cx:pt idx="7771">547500</cx:pt>
          <cx:pt idx="7772">547500</cx:pt>
          <cx:pt idx="7773">547500</cx:pt>
          <cx:pt idx="7774">547000</cx:pt>
          <cx:pt idx="7775">547000</cx:pt>
          <cx:pt idx="7776">547000</cx:pt>
          <cx:pt idx="7777">547000</cx:pt>
          <cx:pt idx="7778">547000</cx:pt>
          <cx:pt idx="7779">547000</cx:pt>
          <cx:pt idx="7780">546940</cx:pt>
          <cx:pt idx="7781">546800</cx:pt>
          <cx:pt idx="7782">546800</cx:pt>
          <cx:pt idx="7783">546500</cx:pt>
          <cx:pt idx="7784">546500</cx:pt>
          <cx:pt idx="7785">546200</cx:pt>
          <cx:pt idx="7786">546200</cx:pt>
          <cx:pt idx="7787">546000</cx:pt>
          <cx:pt idx="7788">546000</cx:pt>
          <cx:pt idx="7789">546000</cx:pt>
          <cx:pt idx="7790">546000</cx:pt>
          <cx:pt idx="7791">546000</cx:pt>
          <cx:pt idx="7792">546000</cx:pt>
          <cx:pt idx="7793">546000</cx:pt>
          <cx:pt idx="7794">546000</cx:pt>
          <cx:pt idx="7795">546000</cx:pt>
          <cx:pt idx="7796">546000</cx:pt>
          <cx:pt idx="7797">545800</cx:pt>
          <cx:pt idx="7798">545500</cx:pt>
          <cx:pt idx="7799">545400</cx:pt>
          <cx:pt idx="7800">545000</cx:pt>
          <cx:pt idx="7801">545000</cx:pt>
          <cx:pt idx="7802">545000</cx:pt>
          <cx:pt idx="7803">545000</cx:pt>
          <cx:pt idx="7804">545000</cx:pt>
          <cx:pt idx="7805">545000</cx:pt>
          <cx:pt idx="7806">545000</cx:pt>
          <cx:pt idx="7807">545000</cx:pt>
          <cx:pt idx="7808">545000</cx:pt>
          <cx:pt idx="7809">545000</cx:pt>
          <cx:pt idx="7810">545000</cx:pt>
          <cx:pt idx="7811">545000</cx:pt>
          <cx:pt idx="7812">545000</cx:pt>
          <cx:pt idx="7813">545000</cx:pt>
          <cx:pt idx="7814">545000</cx:pt>
          <cx:pt idx="7815">545000</cx:pt>
          <cx:pt idx="7816">545000</cx:pt>
          <cx:pt idx="7817">545000</cx:pt>
          <cx:pt idx="7818">545000</cx:pt>
          <cx:pt idx="7819">545000</cx:pt>
          <cx:pt idx="7820">545000</cx:pt>
          <cx:pt idx="7821">545000</cx:pt>
          <cx:pt idx="7822">545000</cx:pt>
          <cx:pt idx="7823">545000</cx:pt>
          <cx:pt idx="7824">545000</cx:pt>
          <cx:pt idx="7825">545000</cx:pt>
          <cx:pt idx="7826">545000</cx:pt>
          <cx:pt idx="7827">545000</cx:pt>
          <cx:pt idx="7828">545000</cx:pt>
          <cx:pt idx="7829">545000</cx:pt>
          <cx:pt idx="7830">545000</cx:pt>
          <cx:pt idx="7831">545000</cx:pt>
          <cx:pt idx="7832">545000</cx:pt>
          <cx:pt idx="7833">545000</cx:pt>
          <cx:pt idx="7834">545000</cx:pt>
          <cx:pt idx="7835">545000</cx:pt>
          <cx:pt idx="7836">545000</cx:pt>
          <cx:pt idx="7837">545000</cx:pt>
          <cx:pt idx="7838">545000</cx:pt>
          <cx:pt idx="7839">545000</cx:pt>
          <cx:pt idx="7840">545000</cx:pt>
          <cx:pt idx="7841">545000</cx:pt>
          <cx:pt idx="7842">545000</cx:pt>
          <cx:pt idx="7843">545000</cx:pt>
          <cx:pt idx="7844">545000</cx:pt>
          <cx:pt idx="7845">545000</cx:pt>
          <cx:pt idx="7846">545000</cx:pt>
          <cx:pt idx="7847">545000</cx:pt>
          <cx:pt idx="7848">545000</cx:pt>
          <cx:pt idx="7849">545000</cx:pt>
          <cx:pt idx="7850">545000</cx:pt>
          <cx:pt idx="7851">545000</cx:pt>
          <cx:pt idx="7852">545000</cx:pt>
          <cx:pt idx="7853">545000</cx:pt>
          <cx:pt idx="7854">545000</cx:pt>
          <cx:pt idx="7855">545000</cx:pt>
          <cx:pt idx="7856">545000</cx:pt>
          <cx:pt idx="7857">545000</cx:pt>
          <cx:pt idx="7858">545000</cx:pt>
          <cx:pt idx="7859">545000</cx:pt>
          <cx:pt idx="7860">545000</cx:pt>
          <cx:pt idx="7861">545000</cx:pt>
          <cx:pt idx="7862">544999</cx:pt>
          <cx:pt idx="7863">544950</cx:pt>
          <cx:pt idx="7864">544900</cx:pt>
          <cx:pt idx="7865">544800</cx:pt>
          <cx:pt idx="7866">544500</cx:pt>
          <cx:pt idx="7867">544500</cx:pt>
          <cx:pt idx="7868">544300</cx:pt>
          <cx:pt idx="7869">544000</cx:pt>
          <cx:pt idx="7870">544000</cx:pt>
          <cx:pt idx="7871">544000</cx:pt>
          <cx:pt idx="7872">544000</cx:pt>
          <cx:pt idx="7873">544000</cx:pt>
          <cx:pt idx="7874">543500</cx:pt>
          <cx:pt idx="7875">543500</cx:pt>
          <cx:pt idx="7876">543200</cx:pt>
          <cx:pt idx="7877">543115</cx:pt>
          <cx:pt idx="7878">543000</cx:pt>
          <cx:pt idx="7879">543000</cx:pt>
          <cx:pt idx="7880">543000</cx:pt>
          <cx:pt idx="7881">543000</cx:pt>
          <cx:pt idx="7882">543000</cx:pt>
          <cx:pt idx="7883">543000</cx:pt>
          <cx:pt idx="7884">543000</cx:pt>
          <cx:pt idx="7885">543000</cx:pt>
          <cx:pt idx="7886">543000</cx:pt>
          <cx:pt idx="7887">542950</cx:pt>
          <cx:pt idx="7888">542525</cx:pt>
          <cx:pt idx="7889">542500</cx:pt>
          <cx:pt idx="7890">542500</cx:pt>
          <cx:pt idx="7891">542500</cx:pt>
          <cx:pt idx="7892">542500</cx:pt>
          <cx:pt idx="7893">542500</cx:pt>
          <cx:pt idx="7894">542500</cx:pt>
          <cx:pt idx="7895">542300</cx:pt>
          <cx:pt idx="7896">542126</cx:pt>
          <cx:pt idx="7897">542000</cx:pt>
          <cx:pt idx="7898">542000</cx:pt>
          <cx:pt idx="7899">542000</cx:pt>
          <cx:pt idx="7900">542000</cx:pt>
          <cx:pt idx="7901">542000</cx:pt>
          <cx:pt idx="7902">542000</cx:pt>
          <cx:pt idx="7903">542000</cx:pt>
          <cx:pt idx="7904">542000</cx:pt>
          <cx:pt idx="7905">542000</cx:pt>
          <cx:pt idx="7906">541900</cx:pt>
          <cx:pt idx="7907">541800</cx:pt>
          <cx:pt idx="7908">541500</cx:pt>
          <cx:pt idx="7909">541500</cx:pt>
          <cx:pt idx="7910">541338</cx:pt>
          <cx:pt idx="7911">541125</cx:pt>
          <cx:pt idx="7912">541100</cx:pt>
          <cx:pt idx="7913">541000</cx:pt>
          <cx:pt idx="7914">541000</cx:pt>
          <cx:pt idx="7915">541000</cx:pt>
          <cx:pt idx="7916">540500</cx:pt>
          <cx:pt idx="7917">540500</cx:pt>
          <cx:pt idx="7918">540400</cx:pt>
          <cx:pt idx="7919">540000</cx:pt>
          <cx:pt idx="7920">540000</cx:pt>
          <cx:pt idx="7921">540000</cx:pt>
          <cx:pt idx="7922">540000</cx:pt>
          <cx:pt idx="7923">540000</cx:pt>
          <cx:pt idx="7924">540000</cx:pt>
          <cx:pt idx="7925">540000</cx:pt>
          <cx:pt idx="7926">540000</cx:pt>
          <cx:pt idx="7927">540000</cx:pt>
          <cx:pt idx="7928">540000</cx:pt>
          <cx:pt idx="7929">540000</cx:pt>
          <cx:pt idx="7930">540000</cx:pt>
          <cx:pt idx="7931">540000</cx:pt>
          <cx:pt idx="7932">540000</cx:pt>
          <cx:pt idx="7933">540000</cx:pt>
          <cx:pt idx="7934">540000</cx:pt>
          <cx:pt idx="7935">540000</cx:pt>
          <cx:pt idx="7936">540000</cx:pt>
          <cx:pt idx="7937">540000</cx:pt>
          <cx:pt idx="7938">540000</cx:pt>
          <cx:pt idx="7939">540000</cx:pt>
          <cx:pt idx="7940">540000</cx:pt>
          <cx:pt idx="7941">540000</cx:pt>
          <cx:pt idx="7942">540000</cx:pt>
          <cx:pt idx="7943">540000</cx:pt>
          <cx:pt idx="7944">540000</cx:pt>
          <cx:pt idx="7945">540000</cx:pt>
          <cx:pt idx="7946">540000</cx:pt>
          <cx:pt idx="7947">540000</cx:pt>
          <cx:pt idx="7948">540000</cx:pt>
          <cx:pt idx="7949">540000</cx:pt>
          <cx:pt idx="7950">540000</cx:pt>
          <cx:pt idx="7951">540000</cx:pt>
          <cx:pt idx="7952">540000</cx:pt>
          <cx:pt idx="7953">540000</cx:pt>
          <cx:pt idx="7954">540000</cx:pt>
          <cx:pt idx="7955">540000</cx:pt>
          <cx:pt idx="7956">540000</cx:pt>
          <cx:pt idx="7957">540000</cx:pt>
          <cx:pt idx="7958">540000</cx:pt>
          <cx:pt idx="7959">540000</cx:pt>
          <cx:pt idx="7960">540000</cx:pt>
          <cx:pt idx="7961">540000</cx:pt>
          <cx:pt idx="7962">540000</cx:pt>
          <cx:pt idx="7963">540000</cx:pt>
          <cx:pt idx="7964">540000</cx:pt>
          <cx:pt idx="7965">540000</cx:pt>
          <cx:pt idx="7966">540000</cx:pt>
          <cx:pt idx="7967">540000</cx:pt>
          <cx:pt idx="7968">540000</cx:pt>
          <cx:pt idx="7969">540000</cx:pt>
          <cx:pt idx="7970">540000</cx:pt>
          <cx:pt idx="7971">540000</cx:pt>
          <cx:pt idx="7972">540000</cx:pt>
          <cx:pt idx="7973">540000</cx:pt>
          <cx:pt idx="7974">540000</cx:pt>
          <cx:pt idx="7975">540000</cx:pt>
          <cx:pt idx="7976">540000</cx:pt>
          <cx:pt idx="7977">540000</cx:pt>
          <cx:pt idx="7978">540000</cx:pt>
          <cx:pt idx="7979">540000</cx:pt>
          <cx:pt idx="7980">540000</cx:pt>
          <cx:pt idx="7981">540000</cx:pt>
          <cx:pt idx="7982">540000</cx:pt>
          <cx:pt idx="7983">540000</cx:pt>
          <cx:pt idx="7984">540000</cx:pt>
          <cx:pt idx="7985">540000</cx:pt>
          <cx:pt idx="7986">540000</cx:pt>
          <cx:pt idx="7987">540000</cx:pt>
          <cx:pt idx="7988">540000</cx:pt>
          <cx:pt idx="7989">540000</cx:pt>
          <cx:pt idx="7990">540000</cx:pt>
          <cx:pt idx="7991">540000</cx:pt>
          <cx:pt idx="7992">540000</cx:pt>
          <cx:pt idx="7993">540000</cx:pt>
          <cx:pt idx="7994">540000</cx:pt>
          <cx:pt idx="7995">540000</cx:pt>
          <cx:pt idx="7996">540000</cx:pt>
          <cx:pt idx="7997">539950</cx:pt>
          <cx:pt idx="7998">539950</cx:pt>
          <cx:pt idx="7999">539950</cx:pt>
          <cx:pt idx="8000">539950</cx:pt>
          <cx:pt idx="8001">539950</cx:pt>
          <cx:pt idx="8002">539950</cx:pt>
          <cx:pt idx="8003">539950</cx:pt>
          <cx:pt idx="8004">539950</cx:pt>
          <cx:pt idx="8005">539950</cx:pt>
          <cx:pt idx="8006">539950</cx:pt>
          <cx:pt idx="8007">539950</cx:pt>
          <cx:pt idx="8008">539900</cx:pt>
          <cx:pt idx="8009">539900</cx:pt>
          <cx:pt idx="8010">539900</cx:pt>
          <cx:pt idx="8011">539500</cx:pt>
          <cx:pt idx="8012">539500</cx:pt>
          <cx:pt idx="8013">539500</cx:pt>
          <cx:pt idx="8014">539000</cx:pt>
          <cx:pt idx="8015">539000</cx:pt>
          <cx:pt idx="8016">539000</cx:pt>
          <cx:pt idx="8017">539000</cx:pt>
          <cx:pt idx="8018">539000</cx:pt>
          <cx:pt idx="8019">539000</cx:pt>
          <cx:pt idx="8020">539000</cx:pt>
          <cx:pt idx="8021">539000</cx:pt>
          <cx:pt idx="8022">539000</cx:pt>
          <cx:pt idx="8023">539000</cx:pt>
          <cx:pt idx="8024">539000</cx:pt>
          <cx:pt idx="8025">539000</cx:pt>
          <cx:pt idx="8026">539000</cx:pt>
          <cx:pt idx="8027">539000</cx:pt>
          <cx:pt idx="8028">539000</cx:pt>
          <cx:pt idx="8029">539000</cx:pt>
          <cx:pt idx="8030">539000</cx:pt>
          <cx:pt idx="8031">539000</cx:pt>
          <cx:pt idx="8032">539000</cx:pt>
          <cx:pt idx="8033">538900</cx:pt>
          <cx:pt idx="8034">538888</cx:pt>
          <cx:pt idx="8035">538500</cx:pt>
          <cx:pt idx="8036">538250</cx:pt>
          <cx:pt idx="8037">538200</cx:pt>
          <cx:pt idx="8038">538000</cx:pt>
          <cx:pt idx="8039">538000</cx:pt>
          <cx:pt idx="8040">538000</cx:pt>
          <cx:pt idx="8041">538000</cx:pt>
          <cx:pt idx="8042">538000</cx:pt>
          <cx:pt idx="8043">538000</cx:pt>
          <cx:pt idx="8044">538000</cx:pt>
          <cx:pt idx="8045">538000</cx:pt>
          <cx:pt idx="8046">538000</cx:pt>
          <cx:pt idx="8047">538000</cx:pt>
          <cx:pt idx="8048">538000</cx:pt>
          <cx:pt idx="8049">538000</cx:pt>
          <cx:pt idx="8050">537500</cx:pt>
          <cx:pt idx="8051">537500</cx:pt>
          <cx:pt idx="8052">537250</cx:pt>
          <cx:pt idx="8053">537100</cx:pt>
          <cx:pt idx="8054">537000</cx:pt>
          <cx:pt idx="8055">537000</cx:pt>
          <cx:pt idx="8056">537000</cx:pt>
          <cx:pt idx="8057">537000</cx:pt>
          <cx:pt idx="8058">537000</cx:pt>
          <cx:pt idx="8059">537000</cx:pt>
          <cx:pt idx="8060">537000</cx:pt>
          <cx:pt idx="8061">537000</cx:pt>
          <cx:pt idx="8062">537000</cx:pt>
          <cx:pt idx="8063">537000</cx:pt>
          <cx:pt idx="8064">537000</cx:pt>
          <cx:pt idx="8065">537000</cx:pt>
          <cx:pt idx="8066">536751</cx:pt>
          <cx:pt idx="8067">536650</cx:pt>
          <cx:pt idx="8068">536500</cx:pt>
          <cx:pt idx="8069">536500</cx:pt>
          <cx:pt idx="8070">536500</cx:pt>
          <cx:pt idx="8071">536000</cx:pt>
          <cx:pt idx="8072">536000</cx:pt>
          <cx:pt idx="8073">536000</cx:pt>
          <cx:pt idx="8074">536000</cx:pt>
          <cx:pt idx="8075">536000</cx:pt>
          <cx:pt idx="8076">536000</cx:pt>
          <cx:pt idx="8077">536000</cx:pt>
          <cx:pt idx="8078">536000</cx:pt>
          <cx:pt idx="8079">536000</cx:pt>
          <cx:pt idx="8080">536000</cx:pt>
          <cx:pt idx="8081">536000</cx:pt>
          <cx:pt idx="8082">535950</cx:pt>
          <cx:pt idx="8083">535900</cx:pt>
          <cx:pt idx="8084">535800</cx:pt>
          <cx:pt idx="8085">535610</cx:pt>
          <cx:pt idx="8086">535500</cx:pt>
          <cx:pt idx="8087">535500</cx:pt>
          <cx:pt idx="8088">535365</cx:pt>
          <cx:pt idx="8089">535100</cx:pt>
          <cx:pt idx="8090">535000</cx:pt>
          <cx:pt idx="8091">535000</cx:pt>
          <cx:pt idx="8092">535000</cx:pt>
          <cx:pt idx="8093">535000</cx:pt>
          <cx:pt idx="8094">535000</cx:pt>
          <cx:pt idx="8095">535000</cx:pt>
          <cx:pt idx="8096">535000</cx:pt>
          <cx:pt idx="8097">535000</cx:pt>
          <cx:pt idx="8098">535000</cx:pt>
          <cx:pt idx="8099">535000</cx:pt>
          <cx:pt idx="8100">535000</cx:pt>
          <cx:pt idx="8101">535000</cx:pt>
          <cx:pt idx="8102">535000</cx:pt>
          <cx:pt idx="8103">535000</cx:pt>
          <cx:pt idx="8104">535000</cx:pt>
          <cx:pt idx="8105">535000</cx:pt>
          <cx:pt idx="8106">535000</cx:pt>
          <cx:pt idx="8107">535000</cx:pt>
          <cx:pt idx="8108">535000</cx:pt>
          <cx:pt idx="8109">535000</cx:pt>
          <cx:pt idx="8110">535000</cx:pt>
          <cx:pt idx="8111">535000</cx:pt>
          <cx:pt idx="8112">535000</cx:pt>
          <cx:pt idx="8113">535000</cx:pt>
          <cx:pt idx="8114">535000</cx:pt>
          <cx:pt idx="8115">535000</cx:pt>
          <cx:pt idx="8116">535000</cx:pt>
          <cx:pt idx="8117">535000</cx:pt>
          <cx:pt idx="8118">535000</cx:pt>
          <cx:pt idx="8119">535000</cx:pt>
          <cx:pt idx="8120">535000</cx:pt>
          <cx:pt idx="8121">535000</cx:pt>
          <cx:pt idx="8122">535000</cx:pt>
          <cx:pt idx="8123">535000</cx:pt>
          <cx:pt idx="8124">535000</cx:pt>
          <cx:pt idx="8125">535000</cx:pt>
          <cx:pt idx="8126">535000</cx:pt>
          <cx:pt idx="8127">535000</cx:pt>
          <cx:pt idx="8128">535000</cx:pt>
          <cx:pt idx="8129">535000</cx:pt>
          <cx:pt idx="8130">535000</cx:pt>
          <cx:pt idx="8131">535000</cx:pt>
          <cx:pt idx="8132">535000</cx:pt>
          <cx:pt idx="8133">535000</cx:pt>
          <cx:pt idx="8134">535000</cx:pt>
          <cx:pt idx="8135">535000</cx:pt>
          <cx:pt idx="8136">535000</cx:pt>
          <cx:pt idx="8137">535000</cx:pt>
          <cx:pt idx="8138">535000</cx:pt>
          <cx:pt idx="8139">535000</cx:pt>
          <cx:pt idx="8140">535000</cx:pt>
          <cx:pt idx="8141">535000</cx:pt>
          <cx:pt idx="8142">535000</cx:pt>
          <cx:pt idx="8143">535000</cx:pt>
          <cx:pt idx="8144">535000</cx:pt>
          <cx:pt idx="8145">535000</cx:pt>
          <cx:pt idx="8146">535000</cx:pt>
          <cx:pt idx="8147">535000</cx:pt>
          <cx:pt idx="8148">535000</cx:pt>
          <cx:pt idx="8149">535000</cx:pt>
          <cx:pt idx="8150">535000</cx:pt>
          <cx:pt idx="8151">535000</cx:pt>
          <cx:pt idx="8152">535000</cx:pt>
          <cx:pt idx="8153">535000</cx:pt>
          <cx:pt idx="8154">535000</cx:pt>
          <cx:pt idx="8155">535000</cx:pt>
          <cx:pt idx="8156">535000</cx:pt>
          <cx:pt idx="8157">535000</cx:pt>
          <cx:pt idx="8158">535000</cx:pt>
          <cx:pt idx="8159">535000</cx:pt>
          <cx:pt idx="8160">535000</cx:pt>
          <cx:pt idx="8161">535000</cx:pt>
          <cx:pt idx="8162">535000</cx:pt>
          <cx:pt idx="8163">535000</cx:pt>
          <cx:pt idx="8164">535000</cx:pt>
          <cx:pt idx="8165">535000</cx:pt>
          <cx:pt idx="8166">535000</cx:pt>
          <cx:pt idx="8167">535000</cx:pt>
          <cx:pt idx="8168">534950</cx:pt>
          <cx:pt idx="8169">534950</cx:pt>
          <cx:pt idx="8170">534950</cx:pt>
          <cx:pt idx="8171">534640</cx:pt>
          <cx:pt idx="8172">534500</cx:pt>
          <cx:pt idx="8173">534000</cx:pt>
          <cx:pt idx="8174">534000</cx:pt>
          <cx:pt idx="8175">534000</cx:pt>
          <cx:pt idx="8176">534000</cx:pt>
          <cx:pt idx="8177">533600</cx:pt>
          <cx:pt idx="8178">533500</cx:pt>
          <cx:pt idx="8179">533380</cx:pt>
          <cx:pt idx="8180">533300</cx:pt>
          <cx:pt idx="8181">533250</cx:pt>
          <cx:pt idx="8182">533112</cx:pt>
          <cx:pt idx="8183">533050</cx:pt>
          <cx:pt idx="8184">533000</cx:pt>
          <cx:pt idx="8185">533000</cx:pt>
          <cx:pt idx="8186">533000</cx:pt>
          <cx:pt idx="8187">533000</cx:pt>
          <cx:pt idx="8188">533000</cx:pt>
          <cx:pt idx="8189">533000</cx:pt>
          <cx:pt idx="8190">533000</cx:pt>
          <cx:pt idx="8191">533000</cx:pt>
          <cx:pt idx="8192">532500</cx:pt>
          <cx:pt idx="8193">532500</cx:pt>
          <cx:pt idx="8194">532500</cx:pt>
          <cx:pt idx="8195">532500</cx:pt>
          <cx:pt idx="8196">532500</cx:pt>
          <cx:pt idx="8197">532500</cx:pt>
          <cx:pt idx="8198">532500</cx:pt>
          <cx:pt idx="8199">532170</cx:pt>
          <cx:pt idx="8200">532000</cx:pt>
          <cx:pt idx="8201">532000</cx:pt>
          <cx:pt idx="8202">532000</cx:pt>
          <cx:pt idx="8203">532000</cx:pt>
          <cx:pt idx="8204">532000</cx:pt>
          <cx:pt idx="8205">532000</cx:pt>
          <cx:pt idx="8206">532000</cx:pt>
          <cx:pt idx="8207">532000</cx:pt>
          <cx:pt idx="8208">532000</cx:pt>
          <cx:pt idx="8209">531800</cx:pt>
          <cx:pt idx="8210">531500</cx:pt>
          <cx:pt idx="8211">531155</cx:pt>
          <cx:pt idx="8212">531000</cx:pt>
          <cx:pt idx="8213">531000</cx:pt>
          <cx:pt idx="8214">531000</cx:pt>
          <cx:pt idx="8215">531000</cx:pt>
          <cx:pt idx="8216">531000</cx:pt>
          <cx:pt idx="8217">530200</cx:pt>
          <cx:pt idx="8218">530100</cx:pt>
          <cx:pt idx="8219">530000</cx:pt>
          <cx:pt idx="8220">530000</cx:pt>
          <cx:pt idx="8221">530000</cx:pt>
          <cx:pt idx="8222">530000</cx:pt>
          <cx:pt idx="8223">530000</cx:pt>
          <cx:pt idx="8224">530000</cx:pt>
          <cx:pt idx="8225">530000</cx:pt>
          <cx:pt idx="8226">530000</cx:pt>
          <cx:pt idx="8227">530000</cx:pt>
          <cx:pt idx="8228">530000</cx:pt>
          <cx:pt idx="8229">530000</cx:pt>
          <cx:pt idx="8230">530000</cx:pt>
          <cx:pt idx="8231">530000</cx:pt>
          <cx:pt idx="8232">530000</cx:pt>
          <cx:pt idx="8233">530000</cx:pt>
          <cx:pt idx="8234">530000</cx:pt>
          <cx:pt idx="8235">530000</cx:pt>
          <cx:pt idx="8236">530000</cx:pt>
          <cx:pt idx="8237">530000</cx:pt>
          <cx:pt idx="8238">530000</cx:pt>
          <cx:pt idx="8239">530000</cx:pt>
          <cx:pt idx="8240">530000</cx:pt>
          <cx:pt idx="8241">530000</cx:pt>
          <cx:pt idx="8242">530000</cx:pt>
          <cx:pt idx="8243">530000</cx:pt>
          <cx:pt idx="8244">530000</cx:pt>
          <cx:pt idx="8245">530000</cx:pt>
          <cx:pt idx="8246">530000</cx:pt>
          <cx:pt idx="8247">530000</cx:pt>
          <cx:pt idx="8248">530000</cx:pt>
          <cx:pt idx="8249">530000</cx:pt>
          <cx:pt idx="8250">530000</cx:pt>
          <cx:pt idx="8251">530000</cx:pt>
          <cx:pt idx="8252">530000</cx:pt>
          <cx:pt idx="8253">530000</cx:pt>
          <cx:pt idx="8254">530000</cx:pt>
          <cx:pt idx="8255">530000</cx:pt>
          <cx:pt idx="8256">530000</cx:pt>
          <cx:pt idx="8257">530000</cx:pt>
          <cx:pt idx="8258">530000</cx:pt>
          <cx:pt idx="8259">530000</cx:pt>
          <cx:pt idx="8260">530000</cx:pt>
          <cx:pt idx="8261">530000</cx:pt>
          <cx:pt idx="8262">530000</cx:pt>
          <cx:pt idx="8263">530000</cx:pt>
          <cx:pt idx="8264">530000</cx:pt>
          <cx:pt idx="8265">530000</cx:pt>
          <cx:pt idx="8266">530000</cx:pt>
          <cx:pt idx="8267">530000</cx:pt>
          <cx:pt idx="8268">530000</cx:pt>
          <cx:pt idx="8269">530000</cx:pt>
          <cx:pt idx="8270">530000</cx:pt>
          <cx:pt idx="8271">530000</cx:pt>
          <cx:pt idx="8272">530000</cx:pt>
          <cx:pt idx="8273">530000</cx:pt>
          <cx:pt idx="8274">530000</cx:pt>
          <cx:pt idx="8275">530000</cx:pt>
          <cx:pt idx="8276">530000</cx:pt>
          <cx:pt idx="8277">530000</cx:pt>
          <cx:pt idx="8278">530000</cx:pt>
          <cx:pt idx="8279">530000</cx:pt>
          <cx:pt idx="8280">530000</cx:pt>
          <cx:pt idx="8281">530000</cx:pt>
          <cx:pt idx="8282">530000</cx:pt>
          <cx:pt idx="8283">530000</cx:pt>
          <cx:pt idx="8284">530000</cx:pt>
          <cx:pt idx="8285">530000</cx:pt>
          <cx:pt idx="8286">530000</cx:pt>
          <cx:pt idx="8287">530000</cx:pt>
          <cx:pt idx="8288">530000</cx:pt>
          <cx:pt idx="8289">530000</cx:pt>
          <cx:pt idx="8290">530000</cx:pt>
          <cx:pt idx="8291">530000</cx:pt>
          <cx:pt idx="8292">530000</cx:pt>
          <cx:pt idx="8293">530000</cx:pt>
          <cx:pt idx="8294">530000</cx:pt>
          <cx:pt idx="8295">530000</cx:pt>
          <cx:pt idx="8296">530000</cx:pt>
          <cx:pt idx="8297">530000</cx:pt>
          <cx:pt idx="8298">530000</cx:pt>
          <cx:pt idx="8299">530000</cx:pt>
          <cx:pt idx="8300">530000</cx:pt>
          <cx:pt idx="8301">530000</cx:pt>
          <cx:pt idx="8302">530000</cx:pt>
          <cx:pt idx="8303">530000</cx:pt>
          <cx:pt idx="8304">530000</cx:pt>
          <cx:pt idx="8305">530000</cx:pt>
          <cx:pt idx="8306">530000</cx:pt>
          <cx:pt idx="8307">530000</cx:pt>
          <cx:pt idx="8308">530000</cx:pt>
          <cx:pt idx="8309">530000</cx:pt>
          <cx:pt idx="8310">529999</cx:pt>
          <cx:pt idx="8311">529950</cx:pt>
          <cx:pt idx="8312">529950</cx:pt>
          <cx:pt idx="8313">529950</cx:pt>
          <cx:pt idx="8314">529950</cx:pt>
          <cx:pt idx="8315">529950</cx:pt>
          <cx:pt idx="8316">529941</cx:pt>
          <cx:pt idx="8317">529900</cx:pt>
          <cx:pt idx="8318">529888</cx:pt>
          <cx:pt idx="8319">529500</cx:pt>
          <cx:pt idx="8320">529500</cx:pt>
          <cx:pt idx="8321">529500</cx:pt>
          <cx:pt idx="8322">529219</cx:pt>
          <cx:pt idx="8323">529100</cx:pt>
          <cx:pt idx="8324">529000</cx:pt>
          <cx:pt idx="8325">529000</cx:pt>
          <cx:pt idx="8326">529000</cx:pt>
          <cx:pt idx="8327">529000</cx:pt>
          <cx:pt idx="8328">529000</cx:pt>
          <cx:pt idx="8329">529000</cx:pt>
          <cx:pt idx="8330">529000</cx:pt>
          <cx:pt idx="8331">529000</cx:pt>
          <cx:pt idx="8332">529000</cx:pt>
          <cx:pt idx="8333">529000</cx:pt>
          <cx:pt idx="8334">529000</cx:pt>
          <cx:pt idx="8335">529000</cx:pt>
          <cx:pt idx="8336">529000</cx:pt>
          <cx:pt idx="8337">528000</cx:pt>
          <cx:pt idx="8338">528000</cx:pt>
          <cx:pt idx="8339">528000</cx:pt>
          <cx:pt idx="8340">528000</cx:pt>
          <cx:pt idx="8341">528000</cx:pt>
          <cx:pt idx="8342">528000</cx:pt>
          <cx:pt idx="8343">528000</cx:pt>
          <cx:pt idx="8344">528000</cx:pt>
          <cx:pt idx="8345">528000</cx:pt>
          <cx:pt idx="8346">528000</cx:pt>
          <cx:pt idx="8347">528000</cx:pt>
          <cx:pt idx="8348">528000</cx:pt>
          <cx:pt idx="8349">527950</cx:pt>
          <cx:pt idx="8350">527900</cx:pt>
          <cx:pt idx="8351">527700</cx:pt>
          <cx:pt idx="8352">527700</cx:pt>
          <cx:pt idx="8353">527550</cx:pt>
          <cx:pt idx="8354">527500</cx:pt>
          <cx:pt idx="8355">527500</cx:pt>
          <cx:pt idx="8356">527500</cx:pt>
          <cx:pt idx="8357">527500</cx:pt>
          <cx:pt idx="8358">527500</cx:pt>
          <cx:pt idx="8359">527200</cx:pt>
          <cx:pt idx="8360">527000</cx:pt>
          <cx:pt idx="8361">527000</cx:pt>
          <cx:pt idx="8362">527000</cx:pt>
          <cx:pt idx="8363">527000</cx:pt>
          <cx:pt idx="8364">527000</cx:pt>
          <cx:pt idx="8365">527000</cx:pt>
          <cx:pt idx="8366">527000</cx:pt>
          <cx:pt idx="8367">526750</cx:pt>
          <cx:pt idx="8368">526500</cx:pt>
          <cx:pt idx="8369">526500</cx:pt>
          <cx:pt idx="8370">526000</cx:pt>
          <cx:pt idx="8371">526000</cx:pt>
          <cx:pt idx="8372">526000</cx:pt>
          <cx:pt idx="8373">526000</cx:pt>
          <cx:pt idx="8374">526000</cx:pt>
          <cx:pt idx="8375">526000</cx:pt>
          <cx:pt idx="8376">526000</cx:pt>
          <cx:pt idx="8377">526000</cx:pt>
          <cx:pt idx="8378">526000</cx:pt>
          <cx:pt idx="8379">526000</cx:pt>
          <cx:pt idx="8380">526000</cx:pt>
          <cx:pt idx="8381">526000</cx:pt>
          <cx:pt idx="8382">525888</cx:pt>
          <cx:pt idx="8383">525300</cx:pt>
          <cx:pt idx="8384">525126</cx:pt>
          <cx:pt idx="8385">525000</cx:pt>
          <cx:pt idx="8386">525000</cx:pt>
          <cx:pt idx="8387">525000</cx:pt>
          <cx:pt idx="8388">525000</cx:pt>
          <cx:pt idx="8389">525000</cx:pt>
          <cx:pt idx="8390">525000</cx:pt>
          <cx:pt idx="8391">525000</cx:pt>
          <cx:pt idx="8392">525000</cx:pt>
          <cx:pt idx="8393">525000</cx:pt>
          <cx:pt idx="8394">525000</cx:pt>
          <cx:pt idx="8395">525000</cx:pt>
          <cx:pt idx="8396">525000</cx:pt>
          <cx:pt idx="8397">525000</cx:pt>
          <cx:pt idx="8398">525000</cx:pt>
          <cx:pt idx="8399">525000</cx:pt>
          <cx:pt idx="8400">525000</cx:pt>
          <cx:pt idx="8401">525000</cx:pt>
          <cx:pt idx="8402">525000</cx:pt>
          <cx:pt idx="8403">525000</cx:pt>
          <cx:pt idx="8404">525000</cx:pt>
          <cx:pt idx="8405">525000</cx:pt>
          <cx:pt idx="8406">525000</cx:pt>
          <cx:pt idx="8407">525000</cx:pt>
          <cx:pt idx="8408">525000</cx:pt>
          <cx:pt idx="8409">525000</cx:pt>
          <cx:pt idx="8410">525000</cx:pt>
          <cx:pt idx="8411">525000</cx:pt>
          <cx:pt idx="8412">525000</cx:pt>
          <cx:pt idx="8413">525000</cx:pt>
          <cx:pt idx="8414">525000</cx:pt>
          <cx:pt idx="8415">525000</cx:pt>
          <cx:pt idx="8416">525000</cx:pt>
          <cx:pt idx="8417">525000</cx:pt>
          <cx:pt idx="8418">525000</cx:pt>
          <cx:pt idx="8419">525000</cx:pt>
          <cx:pt idx="8420">525000</cx:pt>
          <cx:pt idx="8421">525000</cx:pt>
          <cx:pt idx="8422">525000</cx:pt>
          <cx:pt idx="8423">525000</cx:pt>
          <cx:pt idx="8424">525000</cx:pt>
          <cx:pt idx="8425">525000</cx:pt>
          <cx:pt idx="8426">525000</cx:pt>
          <cx:pt idx="8427">525000</cx:pt>
          <cx:pt idx="8428">525000</cx:pt>
          <cx:pt idx="8429">525000</cx:pt>
          <cx:pt idx="8430">525000</cx:pt>
          <cx:pt idx="8431">525000</cx:pt>
          <cx:pt idx="8432">525000</cx:pt>
          <cx:pt idx="8433">525000</cx:pt>
          <cx:pt idx="8434">525000</cx:pt>
          <cx:pt idx="8435">525000</cx:pt>
          <cx:pt idx="8436">525000</cx:pt>
          <cx:pt idx="8437">525000</cx:pt>
          <cx:pt idx="8438">525000</cx:pt>
          <cx:pt idx="8439">525000</cx:pt>
          <cx:pt idx="8440">525000</cx:pt>
          <cx:pt idx="8441">525000</cx:pt>
          <cx:pt idx="8442">525000</cx:pt>
          <cx:pt idx="8443">525000</cx:pt>
          <cx:pt idx="8444">525000</cx:pt>
          <cx:pt idx="8445">525000</cx:pt>
          <cx:pt idx="8446">525000</cx:pt>
          <cx:pt idx="8447">525000</cx:pt>
          <cx:pt idx="8448">525000</cx:pt>
          <cx:pt idx="8449">525000</cx:pt>
          <cx:pt idx="8450">525000</cx:pt>
          <cx:pt idx="8451">525000</cx:pt>
          <cx:pt idx="8452">525000</cx:pt>
          <cx:pt idx="8453">525000</cx:pt>
          <cx:pt idx="8454">525000</cx:pt>
          <cx:pt idx="8455">525000</cx:pt>
          <cx:pt idx="8456">525000</cx:pt>
          <cx:pt idx="8457">525000</cx:pt>
          <cx:pt idx="8458">525000</cx:pt>
          <cx:pt idx="8459">525000</cx:pt>
          <cx:pt idx="8460">525000</cx:pt>
          <cx:pt idx="8461">525000</cx:pt>
          <cx:pt idx="8462">525000</cx:pt>
          <cx:pt idx="8463">525000</cx:pt>
          <cx:pt idx="8464">525000</cx:pt>
          <cx:pt idx="8465">525000</cx:pt>
          <cx:pt idx="8466">525000</cx:pt>
          <cx:pt idx="8467">525000</cx:pt>
          <cx:pt idx="8468">525000</cx:pt>
          <cx:pt idx="8469">525000</cx:pt>
          <cx:pt idx="8470">525000</cx:pt>
          <cx:pt idx="8471">525000</cx:pt>
          <cx:pt idx="8472">525000</cx:pt>
          <cx:pt idx="8473">525000</cx:pt>
          <cx:pt idx="8474">525000</cx:pt>
          <cx:pt idx="8475">525000</cx:pt>
          <cx:pt idx="8476">525000</cx:pt>
          <cx:pt idx="8477">525000</cx:pt>
          <cx:pt idx="8478">525000</cx:pt>
          <cx:pt idx="8479">525000</cx:pt>
          <cx:pt idx="8480">525000</cx:pt>
          <cx:pt idx="8481">525000</cx:pt>
          <cx:pt idx="8482">525000</cx:pt>
          <cx:pt idx="8483">525000</cx:pt>
          <cx:pt idx="8484">525000</cx:pt>
          <cx:pt idx="8485">525000</cx:pt>
          <cx:pt idx="8486">525000</cx:pt>
          <cx:pt idx="8487">525000</cx:pt>
          <cx:pt idx="8488">525000</cx:pt>
          <cx:pt idx="8489">525000</cx:pt>
          <cx:pt idx="8490">525000</cx:pt>
          <cx:pt idx="8491">525000</cx:pt>
          <cx:pt idx="8492">525000</cx:pt>
          <cx:pt idx="8493">525000</cx:pt>
          <cx:pt idx="8494">525000</cx:pt>
          <cx:pt idx="8495">525000</cx:pt>
          <cx:pt idx="8496">525000</cx:pt>
          <cx:pt idx="8497">525000</cx:pt>
          <cx:pt idx="8498">525000</cx:pt>
          <cx:pt idx="8499">525000</cx:pt>
          <cx:pt idx="8500">525000</cx:pt>
          <cx:pt idx="8501">525000</cx:pt>
          <cx:pt idx="8502">525000</cx:pt>
          <cx:pt idx="8503">525000</cx:pt>
          <cx:pt idx="8504">525000</cx:pt>
          <cx:pt idx="8505">525000</cx:pt>
          <cx:pt idx="8506">525000</cx:pt>
          <cx:pt idx="8507">525000</cx:pt>
          <cx:pt idx="8508">525000</cx:pt>
          <cx:pt idx="8509">525000</cx:pt>
          <cx:pt idx="8510">525000</cx:pt>
          <cx:pt idx="8511">525000</cx:pt>
          <cx:pt idx="8512">525000</cx:pt>
          <cx:pt idx="8513">525000</cx:pt>
          <cx:pt idx="8514">525000</cx:pt>
          <cx:pt idx="8515">525000</cx:pt>
          <cx:pt idx="8516">524950</cx:pt>
          <cx:pt idx="8517">524950</cx:pt>
          <cx:pt idx="8518">524950</cx:pt>
          <cx:pt idx="8519">524950</cx:pt>
          <cx:pt idx="8520">524500</cx:pt>
          <cx:pt idx="8521">524500</cx:pt>
          <cx:pt idx="8522">524400</cx:pt>
          <cx:pt idx="8523">524250</cx:pt>
          <cx:pt idx="8524">524225</cx:pt>
          <cx:pt idx="8525">524000</cx:pt>
          <cx:pt idx="8526">524000</cx:pt>
          <cx:pt idx="8527">524000</cx:pt>
          <cx:pt idx="8528">524000</cx:pt>
          <cx:pt idx="8529">524000</cx:pt>
          <cx:pt idx="8530">524000</cx:pt>
          <cx:pt idx="8531">524000</cx:pt>
          <cx:pt idx="8532">524000</cx:pt>
          <cx:pt idx="8533">524000</cx:pt>
          <cx:pt idx="8534">524000</cx:pt>
          <cx:pt idx="8535">523950</cx:pt>
          <cx:pt idx="8536">523500</cx:pt>
          <cx:pt idx="8537">523460</cx:pt>
          <cx:pt idx="8538">523000</cx:pt>
          <cx:pt idx="8539">523000</cx:pt>
          <cx:pt idx="8540">523000</cx:pt>
          <cx:pt idx="8541">523000</cx:pt>
          <cx:pt idx="8542">523000</cx:pt>
          <cx:pt idx="8543">523000</cx:pt>
          <cx:pt idx="8544">523000</cx:pt>
          <cx:pt idx="8545">522500</cx:pt>
          <cx:pt idx="8546">522500</cx:pt>
          <cx:pt idx="8547">522500</cx:pt>
          <cx:pt idx="8548">522500</cx:pt>
          <cx:pt idx="8549">522500</cx:pt>
          <cx:pt idx="8550">522500</cx:pt>
          <cx:pt idx="8551">522500</cx:pt>
          <cx:pt idx="8552">522500</cx:pt>
          <cx:pt idx="8553">522250</cx:pt>
          <cx:pt idx="8554">522000</cx:pt>
          <cx:pt idx="8555">522000</cx:pt>
          <cx:pt idx="8556">522000</cx:pt>
          <cx:pt idx="8557">522000</cx:pt>
          <cx:pt idx="8558">522000</cx:pt>
          <cx:pt idx="8559">522000</cx:pt>
          <cx:pt idx="8560">521900</cx:pt>
          <cx:pt idx="8561">521500</cx:pt>
          <cx:pt idx="8562">521450</cx:pt>
          <cx:pt idx="8563">521000</cx:pt>
          <cx:pt idx="8564">521000</cx:pt>
          <cx:pt idx="8565">521000</cx:pt>
          <cx:pt idx="8566">521000</cx:pt>
          <cx:pt idx="8567">521000</cx:pt>
          <cx:pt idx="8568">521000</cx:pt>
          <cx:pt idx="8569">521000</cx:pt>
          <cx:pt idx="8570">521000</cx:pt>
          <cx:pt idx="8571">520500</cx:pt>
          <cx:pt idx="8572">520500</cx:pt>
          <cx:pt idx="8573">520000</cx:pt>
          <cx:pt idx="8574">520000</cx:pt>
          <cx:pt idx="8575">520000</cx:pt>
          <cx:pt idx="8576">520000</cx:pt>
          <cx:pt idx="8577">520000</cx:pt>
          <cx:pt idx="8578">520000</cx:pt>
          <cx:pt idx="8579">520000</cx:pt>
          <cx:pt idx="8580">520000</cx:pt>
          <cx:pt idx="8581">520000</cx:pt>
          <cx:pt idx="8582">520000</cx:pt>
          <cx:pt idx="8583">520000</cx:pt>
          <cx:pt idx="8584">520000</cx:pt>
          <cx:pt idx="8585">520000</cx:pt>
          <cx:pt idx="8586">520000</cx:pt>
          <cx:pt idx="8587">520000</cx:pt>
          <cx:pt idx="8588">520000</cx:pt>
          <cx:pt idx="8589">520000</cx:pt>
          <cx:pt idx="8590">520000</cx:pt>
          <cx:pt idx="8591">520000</cx:pt>
          <cx:pt idx="8592">520000</cx:pt>
          <cx:pt idx="8593">520000</cx:pt>
          <cx:pt idx="8594">520000</cx:pt>
          <cx:pt idx="8595">520000</cx:pt>
          <cx:pt idx="8596">520000</cx:pt>
          <cx:pt idx="8597">520000</cx:pt>
          <cx:pt idx="8598">520000</cx:pt>
          <cx:pt idx="8599">520000</cx:pt>
          <cx:pt idx="8600">520000</cx:pt>
          <cx:pt idx="8601">520000</cx:pt>
          <cx:pt idx="8602">520000</cx:pt>
          <cx:pt idx="8603">520000</cx:pt>
          <cx:pt idx="8604">520000</cx:pt>
          <cx:pt idx="8605">520000</cx:pt>
          <cx:pt idx="8606">520000</cx:pt>
          <cx:pt idx="8607">520000</cx:pt>
          <cx:pt idx="8608">520000</cx:pt>
          <cx:pt idx="8609">520000</cx:pt>
          <cx:pt idx="8610">520000</cx:pt>
          <cx:pt idx="8611">520000</cx:pt>
          <cx:pt idx="8612">520000</cx:pt>
          <cx:pt idx="8613">520000</cx:pt>
          <cx:pt idx="8614">520000</cx:pt>
          <cx:pt idx="8615">520000</cx:pt>
          <cx:pt idx="8616">520000</cx:pt>
          <cx:pt idx="8617">520000</cx:pt>
          <cx:pt idx="8618">520000</cx:pt>
          <cx:pt idx="8619">520000</cx:pt>
          <cx:pt idx="8620">520000</cx:pt>
          <cx:pt idx="8621">520000</cx:pt>
          <cx:pt idx="8622">520000</cx:pt>
          <cx:pt idx="8623">520000</cx:pt>
          <cx:pt idx="8624">520000</cx:pt>
          <cx:pt idx="8625">520000</cx:pt>
          <cx:pt idx="8626">520000</cx:pt>
          <cx:pt idx="8627">520000</cx:pt>
          <cx:pt idx="8628">519995</cx:pt>
          <cx:pt idx="8629">519990</cx:pt>
          <cx:pt idx="8630">519950</cx:pt>
          <cx:pt idx="8631">519950</cx:pt>
          <cx:pt idx="8632">519900</cx:pt>
          <cx:pt idx="8633">519900</cx:pt>
          <cx:pt idx="8634">519500</cx:pt>
          <cx:pt idx="8635">519500</cx:pt>
          <cx:pt idx="8636">519000</cx:pt>
          <cx:pt idx="8637">519000</cx:pt>
          <cx:pt idx="8638">519000</cx:pt>
          <cx:pt idx="8639">519000</cx:pt>
          <cx:pt idx="8640">519000</cx:pt>
          <cx:pt idx="8641">519000</cx:pt>
          <cx:pt idx="8642">519000</cx:pt>
          <cx:pt idx="8643">519000</cx:pt>
          <cx:pt idx="8644">519000</cx:pt>
          <cx:pt idx="8645">519000</cx:pt>
          <cx:pt idx="8646">518500</cx:pt>
          <cx:pt idx="8647">518500</cx:pt>
          <cx:pt idx="8648">518380</cx:pt>
          <cx:pt idx="8649">518000</cx:pt>
          <cx:pt idx="8650">518000</cx:pt>
          <cx:pt idx="8651">518000</cx:pt>
          <cx:pt idx="8652">518000</cx:pt>
          <cx:pt idx="8653">518000</cx:pt>
          <cx:pt idx="8654">518000</cx:pt>
          <cx:pt idx="8655">518000</cx:pt>
          <cx:pt idx="8656">518000</cx:pt>
          <cx:pt idx="8657">518000</cx:pt>
          <cx:pt idx="8658">518000</cx:pt>
          <cx:pt idx="8659">518000</cx:pt>
          <cx:pt idx="8660">518000</cx:pt>
          <cx:pt idx="8661">518000</cx:pt>
          <cx:pt idx="8662">518000</cx:pt>
          <cx:pt idx="8663">518000</cx:pt>
          <cx:pt idx="8664">518000</cx:pt>
          <cx:pt idx="8665">518000</cx:pt>
          <cx:pt idx="8666">518000</cx:pt>
          <cx:pt idx="8667">518000</cx:pt>
          <cx:pt idx="8668">518000</cx:pt>
          <cx:pt idx="8669">517950</cx:pt>
          <cx:pt idx="8670">517850</cx:pt>
          <cx:pt idx="8671">517534</cx:pt>
          <cx:pt idx="8672">517500</cx:pt>
          <cx:pt idx="8673">517500</cx:pt>
          <cx:pt idx="8674">517500</cx:pt>
          <cx:pt idx="8675">517500</cx:pt>
          <cx:pt idx="8676">517500</cx:pt>
          <cx:pt idx="8677">517500</cx:pt>
          <cx:pt idx="8678">517100</cx:pt>
          <cx:pt idx="8679">517000</cx:pt>
          <cx:pt idx="8680">517000</cx:pt>
          <cx:pt idx="8681">517000</cx:pt>
          <cx:pt idx="8682">517000</cx:pt>
          <cx:pt idx="8683">517000</cx:pt>
          <cx:pt idx="8684">517000</cx:pt>
          <cx:pt idx="8685">516500</cx:pt>
          <cx:pt idx="8686">516500</cx:pt>
          <cx:pt idx="8687">516250</cx:pt>
          <cx:pt idx="8688">516200</cx:pt>
          <cx:pt idx="8689">516130</cx:pt>
          <cx:pt idx="8690">516000</cx:pt>
          <cx:pt idx="8691">516000</cx:pt>
          <cx:pt idx="8692">516000</cx:pt>
          <cx:pt idx="8693">516000</cx:pt>
          <cx:pt idx="8694">515805</cx:pt>
          <cx:pt idx="8695">515700</cx:pt>
          <cx:pt idx="8696">515500</cx:pt>
          <cx:pt idx="8697">515500</cx:pt>
          <cx:pt idx="8698">515100</cx:pt>
          <cx:pt idx="8699">515055</cx:pt>
          <cx:pt idx="8700">515000</cx:pt>
          <cx:pt idx="8701">515000</cx:pt>
          <cx:pt idx="8702">515000</cx:pt>
          <cx:pt idx="8703">515000</cx:pt>
          <cx:pt idx="8704">515000</cx:pt>
          <cx:pt idx="8705">515000</cx:pt>
          <cx:pt idx="8706">515000</cx:pt>
          <cx:pt idx="8707">515000</cx:pt>
          <cx:pt idx="8708">515000</cx:pt>
          <cx:pt idx="8709">515000</cx:pt>
          <cx:pt idx="8710">515000</cx:pt>
          <cx:pt idx="8711">515000</cx:pt>
          <cx:pt idx="8712">515000</cx:pt>
          <cx:pt idx="8713">515000</cx:pt>
          <cx:pt idx="8714">515000</cx:pt>
          <cx:pt idx="8715">515000</cx:pt>
          <cx:pt idx="8716">515000</cx:pt>
          <cx:pt idx="8717">515000</cx:pt>
          <cx:pt idx="8718">515000</cx:pt>
          <cx:pt idx="8719">515000</cx:pt>
          <cx:pt idx="8720">515000</cx:pt>
          <cx:pt idx="8721">515000</cx:pt>
          <cx:pt idx="8722">515000</cx:pt>
          <cx:pt idx="8723">515000</cx:pt>
          <cx:pt idx="8724">515000</cx:pt>
          <cx:pt idx="8725">515000</cx:pt>
          <cx:pt idx="8726">515000</cx:pt>
          <cx:pt idx="8727">515000</cx:pt>
          <cx:pt idx="8728">515000</cx:pt>
          <cx:pt idx="8729">515000</cx:pt>
          <cx:pt idx="8730">515000</cx:pt>
          <cx:pt idx="8731">515000</cx:pt>
          <cx:pt idx="8732">515000</cx:pt>
          <cx:pt idx="8733">515000</cx:pt>
          <cx:pt idx="8734">515000</cx:pt>
          <cx:pt idx="8735">515000</cx:pt>
          <cx:pt idx="8736">515000</cx:pt>
          <cx:pt idx="8737">515000</cx:pt>
          <cx:pt idx="8738">515000</cx:pt>
          <cx:pt idx="8739">515000</cx:pt>
          <cx:pt idx="8740">515000</cx:pt>
          <cx:pt idx="8741">515000</cx:pt>
          <cx:pt idx="8742">515000</cx:pt>
          <cx:pt idx="8743">515000</cx:pt>
          <cx:pt idx="8744">515000</cx:pt>
          <cx:pt idx="8745">515000</cx:pt>
          <cx:pt idx="8746">515000</cx:pt>
          <cx:pt idx="8747">515000</cx:pt>
          <cx:pt idx="8748">515000</cx:pt>
          <cx:pt idx="8749">515000</cx:pt>
          <cx:pt idx="8750">515000</cx:pt>
          <cx:pt idx="8751">515000</cx:pt>
          <cx:pt idx="8752">515000</cx:pt>
          <cx:pt idx="8753">515000</cx:pt>
          <cx:pt idx="8754">515000</cx:pt>
          <cx:pt idx="8755">515000</cx:pt>
          <cx:pt idx="8756">515000</cx:pt>
          <cx:pt idx="8757">515000</cx:pt>
          <cx:pt idx="8758">515000</cx:pt>
          <cx:pt idx="8759">515000</cx:pt>
          <cx:pt idx="8760">515000</cx:pt>
          <cx:pt idx="8761">515000</cx:pt>
          <cx:pt idx="8762">515000</cx:pt>
          <cx:pt idx="8763">515000</cx:pt>
          <cx:pt idx="8764">515000</cx:pt>
          <cx:pt idx="8765">515000</cx:pt>
          <cx:pt idx="8766">515000</cx:pt>
          <cx:pt idx="8767">515000</cx:pt>
          <cx:pt idx="8768">515000</cx:pt>
          <cx:pt idx="8769">515000</cx:pt>
          <cx:pt idx="8770">515000</cx:pt>
          <cx:pt idx="8771">515000</cx:pt>
          <cx:pt idx="8772">515000</cx:pt>
          <cx:pt idx="8773">515000</cx:pt>
          <cx:pt idx="8774">515000</cx:pt>
          <cx:pt idx="8775">515000</cx:pt>
          <cx:pt idx="8776">515000</cx:pt>
          <cx:pt idx="8777">515000</cx:pt>
          <cx:pt idx="8778">515000</cx:pt>
          <cx:pt idx="8779">515000</cx:pt>
          <cx:pt idx="8780">515000</cx:pt>
          <cx:pt idx="8781">515000</cx:pt>
          <cx:pt idx="8782">515000</cx:pt>
          <cx:pt idx="8783">514950</cx:pt>
          <cx:pt idx="8784">514700</cx:pt>
          <cx:pt idx="8785">514500</cx:pt>
          <cx:pt idx="8786">514000</cx:pt>
          <cx:pt idx="8787">514000</cx:pt>
          <cx:pt idx="8788">514000</cx:pt>
          <cx:pt idx="8789">514000</cx:pt>
          <cx:pt idx="8790">514000</cx:pt>
          <cx:pt idx="8791">514000</cx:pt>
          <cx:pt idx="8792">513000</cx:pt>
          <cx:pt idx="8793">513000</cx:pt>
          <cx:pt idx="8794">513000</cx:pt>
          <cx:pt idx="8795">513000</cx:pt>
          <cx:pt idx="8796">513000</cx:pt>
          <cx:pt idx="8797">513000</cx:pt>
          <cx:pt idx="8798">513000</cx:pt>
          <cx:pt idx="8799">513000</cx:pt>
          <cx:pt idx="8800">513000</cx:pt>
          <cx:pt idx="8801">513000</cx:pt>
          <cx:pt idx="8802">513000</cx:pt>
          <cx:pt idx="8803">512500</cx:pt>
          <cx:pt idx="8804">512500</cx:pt>
          <cx:pt idx="8805">512500</cx:pt>
          <cx:pt idx="8806">512500</cx:pt>
          <cx:pt idx="8807">512500</cx:pt>
          <cx:pt idx="8808">512500</cx:pt>
          <cx:pt idx="8809">512500</cx:pt>
          <cx:pt idx="8810">512031</cx:pt>
          <cx:pt idx="8811">512000</cx:pt>
          <cx:pt idx="8812">512000</cx:pt>
          <cx:pt idx="8813">512000</cx:pt>
          <cx:pt idx="8814">512000</cx:pt>
          <cx:pt idx="8815">512000</cx:pt>
          <cx:pt idx="8816">511718</cx:pt>
          <cx:pt idx="8817">511555</cx:pt>
          <cx:pt idx="8818">511500</cx:pt>
          <cx:pt idx="8819">511200</cx:pt>
          <cx:pt idx="8820">511100</cx:pt>
          <cx:pt idx="8821">511000</cx:pt>
          <cx:pt idx="8822">511000</cx:pt>
          <cx:pt idx="8823">511000</cx:pt>
          <cx:pt idx="8824">511000</cx:pt>
          <cx:pt idx="8825">511000</cx:pt>
          <cx:pt idx="8826">510500</cx:pt>
          <cx:pt idx="8827">510250</cx:pt>
          <cx:pt idx="8828">510000</cx:pt>
          <cx:pt idx="8829">510000</cx:pt>
          <cx:pt idx="8830">510000</cx:pt>
          <cx:pt idx="8831">510000</cx:pt>
          <cx:pt idx="8832">510000</cx:pt>
          <cx:pt idx="8833">510000</cx:pt>
          <cx:pt idx="8834">510000</cx:pt>
          <cx:pt idx="8835">510000</cx:pt>
          <cx:pt idx="8836">510000</cx:pt>
          <cx:pt idx="8837">510000</cx:pt>
          <cx:pt idx="8838">510000</cx:pt>
          <cx:pt idx="8839">510000</cx:pt>
          <cx:pt idx="8840">510000</cx:pt>
          <cx:pt idx="8841">510000</cx:pt>
          <cx:pt idx="8842">510000</cx:pt>
          <cx:pt idx="8843">510000</cx:pt>
          <cx:pt idx="8844">510000</cx:pt>
          <cx:pt idx="8845">510000</cx:pt>
          <cx:pt idx="8846">510000</cx:pt>
          <cx:pt idx="8847">510000</cx:pt>
          <cx:pt idx="8848">510000</cx:pt>
          <cx:pt idx="8849">510000</cx:pt>
          <cx:pt idx="8850">510000</cx:pt>
          <cx:pt idx="8851">510000</cx:pt>
          <cx:pt idx="8852">510000</cx:pt>
          <cx:pt idx="8853">510000</cx:pt>
          <cx:pt idx="8854">510000</cx:pt>
          <cx:pt idx="8855">510000</cx:pt>
          <cx:pt idx="8856">510000</cx:pt>
          <cx:pt idx="8857">510000</cx:pt>
          <cx:pt idx="8858">510000</cx:pt>
          <cx:pt idx="8859">510000</cx:pt>
          <cx:pt idx="8860">510000</cx:pt>
          <cx:pt idx="8861">510000</cx:pt>
          <cx:pt idx="8862">510000</cx:pt>
          <cx:pt idx="8863">510000</cx:pt>
          <cx:pt idx="8864">510000</cx:pt>
          <cx:pt idx="8865">510000</cx:pt>
          <cx:pt idx="8866">510000</cx:pt>
          <cx:pt idx="8867">510000</cx:pt>
          <cx:pt idx="8868">510000</cx:pt>
          <cx:pt idx="8869">510000</cx:pt>
          <cx:pt idx="8870">510000</cx:pt>
          <cx:pt idx="8871">510000</cx:pt>
          <cx:pt idx="8872">510000</cx:pt>
          <cx:pt idx="8873">510000</cx:pt>
          <cx:pt idx="8874">510000</cx:pt>
          <cx:pt idx="8875">510000</cx:pt>
          <cx:pt idx="8876">510000</cx:pt>
          <cx:pt idx="8877">510000</cx:pt>
          <cx:pt idx="8878">510000</cx:pt>
          <cx:pt idx="8879">510000</cx:pt>
          <cx:pt idx="8880">510000</cx:pt>
          <cx:pt idx="8881">510000</cx:pt>
          <cx:pt idx="8882">510000</cx:pt>
          <cx:pt idx="8883">510000</cx:pt>
          <cx:pt idx="8884">510000</cx:pt>
          <cx:pt idx="8885">510000</cx:pt>
          <cx:pt idx="8886">510000</cx:pt>
          <cx:pt idx="8887">510000</cx:pt>
          <cx:pt idx="8888">510000</cx:pt>
          <cx:pt idx="8889">510000</cx:pt>
          <cx:pt idx="8890">510000</cx:pt>
          <cx:pt idx="8891">510000</cx:pt>
          <cx:pt idx="8892">510000</cx:pt>
          <cx:pt idx="8893">510000</cx:pt>
          <cx:pt idx="8894">510000</cx:pt>
          <cx:pt idx="8895">510000</cx:pt>
          <cx:pt idx="8896">510000</cx:pt>
          <cx:pt idx="8897">510000</cx:pt>
          <cx:pt idx="8898">510000</cx:pt>
          <cx:pt idx="8899">510000</cx:pt>
          <cx:pt idx="8900">510000</cx:pt>
          <cx:pt idx="8901">510000</cx:pt>
          <cx:pt idx="8902">509990</cx:pt>
          <cx:pt idx="8903">509950</cx:pt>
          <cx:pt idx="8904">509950</cx:pt>
          <cx:pt idx="8905">509950</cx:pt>
          <cx:pt idx="8906">509900</cx:pt>
          <cx:pt idx="8907">509900</cx:pt>
          <cx:pt idx="8908">509900</cx:pt>
          <cx:pt idx="8909">509500</cx:pt>
          <cx:pt idx="8910">509500</cx:pt>
          <cx:pt idx="8911">509250</cx:pt>
          <cx:pt idx="8912">509250</cx:pt>
          <cx:pt idx="8913">509007</cx:pt>
          <cx:pt idx="8914">509000</cx:pt>
          <cx:pt idx="8915">509000</cx:pt>
          <cx:pt idx="8916">509000</cx:pt>
          <cx:pt idx="8917">509000</cx:pt>
          <cx:pt idx="8918">509000</cx:pt>
          <cx:pt idx="8919">509000</cx:pt>
          <cx:pt idx="8920">509000</cx:pt>
          <cx:pt idx="8921">508800</cx:pt>
          <cx:pt idx="8922">508500</cx:pt>
          <cx:pt idx="8923">508500</cx:pt>
          <cx:pt idx="8924">508450</cx:pt>
          <cx:pt idx="8925">508300</cx:pt>
          <cx:pt idx="8926">508000</cx:pt>
          <cx:pt idx="8927">508000</cx:pt>
          <cx:pt idx="8928">508000</cx:pt>
          <cx:pt idx="8929">508000</cx:pt>
          <cx:pt idx="8930">508000</cx:pt>
          <cx:pt idx="8931">507950</cx:pt>
          <cx:pt idx="8932">507500</cx:pt>
          <cx:pt idx="8933">507500</cx:pt>
          <cx:pt idx="8934">507250</cx:pt>
          <cx:pt idx="8935">507250</cx:pt>
          <cx:pt idx="8936">507200</cx:pt>
          <cx:pt idx="8937">507000</cx:pt>
          <cx:pt idx="8938">507000</cx:pt>
          <cx:pt idx="8939">507000</cx:pt>
          <cx:pt idx="8940">507000</cx:pt>
          <cx:pt idx="8941">507000</cx:pt>
          <cx:pt idx="8942">507000</cx:pt>
          <cx:pt idx="8943">507000</cx:pt>
          <cx:pt idx="8944">507000</cx:pt>
          <cx:pt idx="8945">507000</cx:pt>
          <cx:pt idx="8946">507000</cx:pt>
          <cx:pt idx="8947">507000</cx:pt>
          <cx:pt idx="8948">506950</cx:pt>
          <cx:pt idx="8949">506500</cx:pt>
          <cx:pt idx="8950">506400</cx:pt>
          <cx:pt idx="8951">506000</cx:pt>
          <cx:pt idx="8952">506000</cx:pt>
          <cx:pt idx="8953">506000</cx:pt>
          <cx:pt idx="8954">506000</cx:pt>
          <cx:pt idx="8955">506000</cx:pt>
          <cx:pt idx="8956">506000</cx:pt>
          <cx:pt idx="8957">506000</cx:pt>
          <cx:pt idx="8958">506000</cx:pt>
          <cx:pt idx="8959">505657</cx:pt>
          <cx:pt idx="8960">505500</cx:pt>
          <cx:pt idx="8961">505400</cx:pt>
          <cx:pt idx="8962">505000</cx:pt>
          <cx:pt idx="8963">505000</cx:pt>
          <cx:pt idx="8964">505000</cx:pt>
          <cx:pt idx="8965">505000</cx:pt>
          <cx:pt idx="8966">505000</cx:pt>
          <cx:pt idx="8967">505000</cx:pt>
          <cx:pt idx="8968">505000</cx:pt>
          <cx:pt idx="8969">505000</cx:pt>
          <cx:pt idx="8970">505000</cx:pt>
          <cx:pt idx="8971">505000</cx:pt>
          <cx:pt idx="8972">505000</cx:pt>
          <cx:pt idx="8973">505000</cx:pt>
          <cx:pt idx="8974">505000</cx:pt>
          <cx:pt idx="8975">505000</cx:pt>
          <cx:pt idx="8976">505000</cx:pt>
          <cx:pt idx="8977">505000</cx:pt>
          <cx:pt idx="8978">505000</cx:pt>
          <cx:pt idx="8979">505000</cx:pt>
          <cx:pt idx="8980">505000</cx:pt>
          <cx:pt idx="8981">505000</cx:pt>
          <cx:pt idx="8982">505000</cx:pt>
          <cx:pt idx="8983">505000</cx:pt>
          <cx:pt idx="8984">505000</cx:pt>
          <cx:pt idx="8985">505000</cx:pt>
          <cx:pt idx="8986">505000</cx:pt>
          <cx:pt idx="8987">505000</cx:pt>
          <cx:pt idx="8988">505000</cx:pt>
          <cx:pt idx="8989">505000</cx:pt>
          <cx:pt idx="8990">505000</cx:pt>
          <cx:pt idx="8991">505000</cx:pt>
          <cx:pt idx="8992">505000</cx:pt>
          <cx:pt idx="8993">505000</cx:pt>
          <cx:pt idx="8994">505000</cx:pt>
          <cx:pt idx="8995">505000</cx:pt>
          <cx:pt idx="8996">505000</cx:pt>
          <cx:pt idx="8997">505000</cx:pt>
          <cx:pt idx="8998">505000</cx:pt>
          <cx:pt idx="8999">505000</cx:pt>
          <cx:pt idx="9000">505000</cx:pt>
          <cx:pt idx="9001">505000</cx:pt>
          <cx:pt idx="9002">505000</cx:pt>
          <cx:pt idx="9003">505000</cx:pt>
          <cx:pt idx="9004">505000</cx:pt>
          <cx:pt idx="9005">505000</cx:pt>
          <cx:pt idx="9006">504975</cx:pt>
          <cx:pt idx="9007">504750</cx:pt>
          <cx:pt idx="9008">504600</cx:pt>
          <cx:pt idx="9009">504500</cx:pt>
          <cx:pt idx="9010">504200</cx:pt>
          <cx:pt idx="9011">504058</cx:pt>
          <cx:pt idx="9012">503500</cx:pt>
          <cx:pt idx="9013">503045</cx:pt>
          <cx:pt idx="9014">503000</cx:pt>
          <cx:pt idx="9015">503000</cx:pt>
          <cx:pt idx="9016">503000</cx:pt>
          <cx:pt idx="9017">503000</cx:pt>
          <cx:pt idx="9018">503000</cx:pt>
          <cx:pt idx="9019">503000</cx:pt>
          <cx:pt idx="9020">503000</cx:pt>
          <cx:pt idx="9021">503000</cx:pt>
          <cx:pt idx="9022">503000</cx:pt>
          <cx:pt idx="9023">503000</cx:pt>
          <cx:pt idx="9024">502775</cx:pt>
          <cx:pt idx="9025">502700</cx:pt>
          <cx:pt idx="9026">502550</cx:pt>
          <cx:pt idx="9027">502501</cx:pt>
          <cx:pt idx="9028">502500</cx:pt>
          <cx:pt idx="9029">502000</cx:pt>
          <cx:pt idx="9030">502000</cx:pt>
          <cx:pt idx="9031">502000</cx:pt>
          <cx:pt idx="9032">502000</cx:pt>
          <cx:pt idx="9033">502000</cx:pt>
          <cx:pt idx="9034">502000</cx:pt>
          <cx:pt idx="9035">502000</cx:pt>
          <cx:pt idx="9036">502000</cx:pt>
          <cx:pt idx="9037">502000</cx:pt>
          <cx:pt idx="9038">502000</cx:pt>
          <cx:pt idx="9039">502000</cx:pt>
          <cx:pt idx="9040">502000</cx:pt>
          <cx:pt idx="9041">502000</cx:pt>
          <cx:pt idx="9042">502000</cx:pt>
          <cx:pt idx="9043">501000</cx:pt>
          <cx:pt idx="9044">501000</cx:pt>
          <cx:pt idx="9045">501000</cx:pt>
          <cx:pt idx="9046">501000</cx:pt>
          <cx:pt idx="9047">501000</cx:pt>
          <cx:pt idx="9048">501000</cx:pt>
          <cx:pt idx="9049">501000</cx:pt>
          <cx:pt idx="9050">501000</cx:pt>
          <cx:pt idx="9051">500012</cx:pt>
          <cx:pt idx="9052">500007</cx:pt>
          <cx:pt idx="9053">500000</cx:pt>
          <cx:pt idx="9054">500000</cx:pt>
          <cx:pt idx="9055">500000</cx:pt>
          <cx:pt idx="9056">500000</cx:pt>
          <cx:pt idx="9057">500000</cx:pt>
          <cx:pt idx="9058">500000</cx:pt>
          <cx:pt idx="9059">500000</cx:pt>
          <cx:pt idx="9060">500000</cx:pt>
          <cx:pt idx="9061">500000</cx:pt>
          <cx:pt idx="9062">500000</cx:pt>
          <cx:pt idx="9063">500000</cx:pt>
          <cx:pt idx="9064">500000</cx:pt>
          <cx:pt idx="9065">500000</cx:pt>
          <cx:pt idx="9066">500000</cx:pt>
          <cx:pt idx="9067">500000</cx:pt>
          <cx:pt idx="9068">500000</cx:pt>
          <cx:pt idx="9069">500000</cx:pt>
          <cx:pt idx="9070">500000</cx:pt>
          <cx:pt idx="9071">500000</cx:pt>
          <cx:pt idx="9072">500000</cx:pt>
          <cx:pt idx="9073">500000</cx:pt>
          <cx:pt idx="9074">500000</cx:pt>
          <cx:pt idx="9075">500000</cx:pt>
          <cx:pt idx="9076">500000</cx:pt>
          <cx:pt idx="9077">500000</cx:pt>
          <cx:pt idx="9078">500000</cx:pt>
          <cx:pt idx="9079">500000</cx:pt>
          <cx:pt idx="9080">500000</cx:pt>
          <cx:pt idx="9081">500000</cx:pt>
          <cx:pt idx="9082">500000</cx:pt>
          <cx:pt idx="9083">500000</cx:pt>
          <cx:pt idx="9084">500000</cx:pt>
          <cx:pt idx="9085">500000</cx:pt>
          <cx:pt idx="9086">500000</cx:pt>
          <cx:pt idx="9087">500000</cx:pt>
          <cx:pt idx="9088">500000</cx:pt>
          <cx:pt idx="9089">500000</cx:pt>
          <cx:pt idx="9090">500000</cx:pt>
          <cx:pt idx="9091">500000</cx:pt>
          <cx:pt idx="9092">500000</cx:pt>
          <cx:pt idx="9093">500000</cx:pt>
          <cx:pt idx="9094">500000</cx:pt>
          <cx:pt idx="9095">500000</cx:pt>
          <cx:pt idx="9096">500000</cx:pt>
          <cx:pt idx="9097">500000</cx:pt>
          <cx:pt idx="9098">500000</cx:pt>
          <cx:pt idx="9099">500000</cx:pt>
          <cx:pt idx="9100">500000</cx:pt>
          <cx:pt idx="9101">500000</cx:pt>
          <cx:pt idx="9102">500000</cx:pt>
          <cx:pt idx="9103">500000</cx:pt>
          <cx:pt idx="9104">500000</cx:pt>
          <cx:pt idx="9105">500000</cx:pt>
          <cx:pt idx="9106">500000</cx:pt>
          <cx:pt idx="9107">500000</cx:pt>
          <cx:pt idx="9108">500000</cx:pt>
          <cx:pt idx="9109">500000</cx:pt>
          <cx:pt idx="9110">500000</cx:pt>
          <cx:pt idx="9111">500000</cx:pt>
          <cx:pt idx="9112">500000</cx:pt>
          <cx:pt idx="9113">500000</cx:pt>
          <cx:pt idx="9114">500000</cx:pt>
          <cx:pt idx="9115">500000</cx:pt>
          <cx:pt idx="9116">500000</cx:pt>
          <cx:pt idx="9117">500000</cx:pt>
          <cx:pt idx="9118">500000</cx:pt>
          <cx:pt idx="9119">500000</cx:pt>
          <cx:pt idx="9120">500000</cx:pt>
          <cx:pt idx="9121">500000</cx:pt>
          <cx:pt idx="9122">500000</cx:pt>
          <cx:pt idx="9123">500000</cx:pt>
          <cx:pt idx="9124">500000</cx:pt>
          <cx:pt idx="9125">500000</cx:pt>
          <cx:pt idx="9126">500000</cx:pt>
          <cx:pt idx="9127">500000</cx:pt>
          <cx:pt idx="9128">500000</cx:pt>
          <cx:pt idx="9129">500000</cx:pt>
          <cx:pt idx="9130">500000</cx:pt>
          <cx:pt idx="9131">500000</cx:pt>
          <cx:pt idx="9132">500000</cx:pt>
          <cx:pt idx="9133">500000</cx:pt>
          <cx:pt idx="9134">500000</cx:pt>
          <cx:pt idx="9135">500000</cx:pt>
          <cx:pt idx="9136">500000</cx:pt>
          <cx:pt idx="9137">500000</cx:pt>
          <cx:pt idx="9138">500000</cx:pt>
          <cx:pt idx="9139">500000</cx:pt>
          <cx:pt idx="9140">500000</cx:pt>
          <cx:pt idx="9141">500000</cx:pt>
          <cx:pt idx="9142">500000</cx:pt>
          <cx:pt idx="9143">500000</cx:pt>
          <cx:pt idx="9144">500000</cx:pt>
          <cx:pt idx="9145">500000</cx:pt>
          <cx:pt idx="9146">500000</cx:pt>
          <cx:pt idx="9147">500000</cx:pt>
          <cx:pt idx="9148">500000</cx:pt>
          <cx:pt idx="9149">500000</cx:pt>
          <cx:pt idx="9150">500000</cx:pt>
          <cx:pt idx="9151">500000</cx:pt>
          <cx:pt idx="9152">500000</cx:pt>
          <cx:pt idx="9153">500000</cx:pt>
          <cx:pt idx="9154">500000</cx:pt>
          <cx:pt idx="9155">500000</cx:pt>
          <cx:pt idx="9156">500000</cx:pt>
          <cx:pt idx="9157">500000</cx:pt>
          <cx:pt idx="9158">500000</cx:pt>
          <cx:pt idx="9159">500000</cx:pt>
          <cx:pt idx="9160">500000</cx:pt>
          <cx:pt idx="9161">500000</cx:pt>
          <cx:pt idx="9162">500000</cx:pt>
          <cx:pt idx="9163">500000</cx:pt>
          <cx:pt idx="9164">500000</cx:pt>
          <cx:pt idx="9165">500000</cx:pt>
          <cx:pt idx="9166">500000</cx:pt>
          <cx:pt idx="9167">500000</cx:pt>
          <cx:pt idx="9168">500000</cx:pt>
          <cx:pt idx="9169">500000</cx:pt>
          <cx:pt idx="9170">500000</cx:pt>
          <cx:pt idx="9171">500000</cx:pt>
          <cx:pt idx="9172">500000</cx:pt>
          <cx:pt idx="9173">500000</cx:pt>
          <cx:pt idx="9174">500000</cx:pt>
          <cx:pt idx="9175">500000</cx:pt>
          <cx:pt idx="9176">500000</cx:pt>
          <cx:pt idx="9177">500000</cx:pt>
          <cx:pt idx="9178">500000</cx:pt>
          <cx:pt idx="9179">500000</cx:pt>
          <cx:pt idx="9180">500000</cx:pt>
          <cx:pt idx="9181">500000</cx:pt>
          <cx:pt idx="9182">500000</cx:pt>
          <cx:pt idx="9183">500000</cx:pt>
          <cx:pt idx="9184">500000</cx:pt>
          <cx:pt idx="9185">500000</cx:pt>
          <cx:pt idx="9186">500000</cx:pt>
          <cx:pt idx="9187">500000</cx:pt>
          <cx:pt idx="9188">500000</cx:pt>
          <cx:pt idx="9189">500000</cx:pt>
          <cx:pt idx="9190">500000</cx:pt>
          <cx:pt idx="9191">500000</cx:pt>
          <cx:pt idx="9192">500000</cx:pt>
          <cx:pt idx="9193">500000</cx:pt>
          <cx:pt idx="9194">500000</cx:pt>
          <cx:pt idx="9195">500000</cx:pt>
          <cx:pt idx="9196">500000</cx:pt>
          <cx:pt idx="9197">500000</cx:pt>
          <cx:pt idx="9198">500000</cx:pt>
          <cx:pt idx="9199">500000</cx:pt>
          <cx:pt idx="9200">500000</cx:pt>
          <cx:pt idx="9201">500000</cx:pt>
          <cx:pt idx="9202">500000</cx:pt>
          <cx:pt idx="9203">500000</cx:pt>
          <cx:pt idx="9204">500000</cx:pt>
          <cx:pt idx="9205">499990</cx:pt>
          <cx:pt idx="9206">499990</cx:pt>
          <cx:pt idx="9207">499990</cx:pt>
          <cx:pt idx="9208">499990</cx:pt>
          <cx:pt idx="9209">499950</cx:pt>
          <cx:pt idx="9210">499950</cx:pt>
          <cx:pt idx="9211">499950</cx:pt>
          <cx:pt idx="9212">499950</cx:pt>
          <cx:pt idx="9213">499950</cx:pt>
          <cx:pt idx="9214">499950</cx:pt>
          <cx:pt idx="9215">499950</cx:pt>
          <cx:pt idx="9216">499950</cx:pt>
          <cx:pt idx="9217">499950</cx:pt>
          <cx:pt idx="9218">499950</cx:pt>
          <cx:pt idx="9219">499950</cx:pt>
          <cx:pt idx="9220">499950</cx:pt>
          <cx:pt idx="9221">499950</cx:pt>
          <cx:pt idx="9222">499950</cx:pt>
          <cx:pt idx="9223">499950</cx:pt>
          <cx:pt idx="9224">499950</cx:pt>
          <cx:pt idx="9225">499950</cx:pt>
          <cx:pt idx="9226">499950</cx:pt>
          <cx:pt idx="9227">499950</cx:pt>
          <cx:pt idx="9228">499950</cx:pt>
          <cx:pt idx="9229">499950</cx:pt>
          <cx:pt idx="9230">499950</cx:pt>
          <cx:pt idx="9231">499950</cx:pt>
          <cx:pt idx="9232">499950</cx:pt>
          <cx:pt idx="9233">499950</cx:pt>
          <cx:pt idx="9234">499922</cx:pt>
          <cx:pt idx="9235">499900</cx:pt>
          <cx:pt idx="9236">499900</cx:pt>
          <cx:pt idx="9237">499900</cx:pt>
          <cx:pt idx="9238">499900</cx:pt>
          <cx:pt idx="9239">499500</cx:pt>
          <cx:pt idx="9240">499500</cx:pt>
          <cx:pt idx="9241">499431</cx:pt>
          <cx:pt idx="9242">499160</cx:pt>
          <cx:pt idx="9243">499100</cx:pt>
          <cx:pt idx="9244">499000</cx:pt>
          <cx:pt idx="9245">499000</cx:pt>
          <cx:pt idx="9246">499000</cx:pt>
          <cx:pt idx="9247">499000</cx:pt>
          <cx:pt idx="9248">499000</cx:pt>
          <cx:pt idx="9249">499000</cx:pt>
          <cx:pt idx="9250">499000</cx:pt>
          <cx:pt idx="9251">499000</cx:pt>
          <cx:pt idx="9252">499000</cx:pt>
          <cx:pt idx="9253">499000</cx:pt>
          <cx:pt idx="9254">499000</cx:pt>
          <cx:pt idx="9255">499000</cx:pt>
          <cx:pt idx="9256">499000</cx:pt>
          <cx:pt idx="9257">499000</cx:pt>
          <cx:pt idx="9258">499000</cx:pt>
          <cx:pt idx="9259">499000</cx:pt>
          <cx:pt idx="9260">499000</cx:pt>
          <cx:pt idx="9261">499000</cx:pt>
          <cx:pt idx="9262">499000</cx:pt>
          <cx:pt idx="9263">499000</cx:pt>
          <cx:pt idx="9264">499000</cx:pt>
          <cx:pt idx="9265">499000</cx:pt>
          <cx:pt idx="9266">499000</cx:pt>
          <cx:pt idx="9267">499000</cx:pt>
          <cx:pt idx="9268">499000</cx:pt>
          <cx:pt idx="9269">499000</cx:pt>
          <cx:pt idx="9270">499000</cx:pt>
          <cx:pt idx="9271">499000</cx:pt>
          <cx:pt idx="9272">499000</cx:pt>
          <cx:pt idx="9273">499000</cx:pt>
          <cx:pt idx="9274">499000</cx:pt>
          <cx:pt idx="9275">499000</cx:pt>
          <cx:pt idx="9276">499000</cx:pt>
          <cx:pt idx="9277">498800</cx:pt>
          <cx:pt idx="9278">498688</cx:pt>
          <cx:pt idx="9279">498500</cx:pt>
          <cx:pt idx="9280">498500</cx:pt>
          <cx:pt idx="9281">498445</cx:pt>
          <cx:pt idx="9282">498000</cx:pt>
          <cx:pt idx="9283">498000</cx:pt>
          <cx:pt idx="9284">498000</cx:pt>
          <cx:pt idx="9285">498000</cx:pt>
          <cx:pt idx="9286">498000</cx:pt>
          <cx:pt idx="9287">498000</cx:pt>
          <cx:pt idx="9288">498000</cx:pt>
          <cx:pt idx="9289">498000</cx:pt>
          <cx:pt idx="9290">498000</cx:pt>
          <cx:pt idx="9291">498000</cx:pt>
          <cx:pt idx="9292">497950</cx:pt>
          <cx:pt idx="9293">497500</cx:pt>
          <cx:pt idx="9294">497300</cx:pt>
          <cx:pt idx="9295">497000</cx:pt>
          <cx:pt idx="9296">497000</cx:pt>
          <cx:pt idx="9297">497000</cx:pt>
          <cx:pt idx="9298">497000</cx:pt>
          <cx:pt idx="9299">497000</cx:pt>
          <cx:pt idx="9300">497000</cx:pt>
          <cx:pt idx="9301">497000</cx:pt>
          <cx:pt idx="9302">497000</cx:pt>
          <cx:pt idx="9303">497000</cx:pt>
          <cx:pt idx="9304">497000</cx:pt>
          <cx:pt idx="9305">497000</cx:pt>
          <cx:pt idx="9306">496800</cx:pt>
          <cx:pt idx="9307">496752</cx:pt>
          <cx:pt idx="9308">496700</cx:pt>
          <cx:pt idx="9309">496600</cx:pt>
          <cx:pt idx="9310">496600</cx:pt>
          <cx:pt idx="9311">496500</cx:pt>
          <cx:pt idx="9312">496500</cx:pt>
          <cx:pt idx="9313">496000</cx:pt>
          <cx:pt idx="9314">496000</cx:pt>
          <cx:pt idx="9315">496000</cx:pt>
          <cx:pt idx="9316">496000</cx:pt>
          <cx:pt idx="9317">496000</cx:pt>
          <cx:pt idx="9318">496000</cx:pt>
          <cx:pt idx="9319">495800</cx:pt>
          <cx:pt idx="9320">495500</cx:pt>
          <cx:pt idx="9321">495500</cx:pt>
          <cx:pt idx="9322">495500</cx:pt>
          <cx:pt idx="9323">495200</cx:pt>
          <cx:pt idx="9324">495000</cx:pt>
          <cx:pt idx="9325">495000</cx:pt>
          <cx:pt idx="9326">495000</cx:pt>
          <cx:pt idx="9327">495000</cx:pt>
          <cx:pt idx="9328">495000</cx:pt>
          <cx:pt idx="9329">495000</cx:pt>
          <cx:pt idx="9330">495000</cx:pt>
          <cx:pt idx="9331">495000</cx:pt>
          <cx:pt idx="9332">495000</cx:pt>
          <cx:pt idx="9333">495000</cx:pt>
          <cx:pt idx="9334">495000</cx:pt>
          <cx:pt idx="9335">495000</cx:pt>
          <cx:pt idx="9336">495000</cx:pt>
          <cx:pt idx="9337">495000</cx:pt>
          <cx:pt idx="9338">495000</cx:pt>
          <cx:pt idx="9339">495000</cx:pt>
          <cx:pt idx="9340">495000</cx:pt>
          <cx:pt idx="9341">495000</cx:pt>
          <cx:pt idx="9342">495000</cx:pt>
          <cx:pt idx="9343">495000</cx:pt>
          <cx:pt idx="9344">495000</cx:pt>
          <cx:pt idx="9345">495000</cx:pt>
          <cx:pt idx="9346">495000</cx:pt>
          <cx:pt idx="9347">495000</cx:pt>
          <cx:pt idx="9348">495000</cx:pt>
          <cx:pt idx="9349">495000</cx:pt>
          <cx:pt idx="9350">495000</cx:pt>
          <cx:pt idx="9351">495000</cx:pt>
          <cx:pt idx="9352">495000</cx:pt>
          <cx:pt idx="9353">495000</cx:pt>
          <cx:pt idx="9354">495000</cx:pt>
          <cx:pt idx="9355">495000</cx:pt>
          <cx:pt idx="9356">495000</cx:pt>
          <cx:pt idx="9357">495000</cx:pt>
          <cx:pt idx="9358">495000</cx:pt>
          <cx:pt idx="9359">495000</cx:pt>
          <cx:pt idx="9360">495000</cx:pt>
          <cx:pt idx="9361">495000</cx:pt>
          <cx:pt idx="9362">495000</cx:pt>
          <cx:pt idx="9363">495000</cx:pt>
          <cx:pt idx="9364">495000</cx:pt>
          <cx:pt idx="9365">495000</cx:pt>
          <cx:pt idx="9366">495000</cx:pt>
          <cx:pt idx="9367">495000</cx:pt>
          <cx:pt idx="9368">495000</cx:pt>
          <cx:pt idx="9369">495000</cx:pt>
          <cx:pt idx="9370">495000</cx:pt>
          <cx:pt idx="9371">495000</cx:pt>
          <cx:pt idx="9372">495000</cx:pt>
          <cx:pt idx="9373">495000</cx:pt>
          <cx:pt idx="9374">495000</cx:pt>
          <cx:pt idx="9375">495000</cx:pt>
          <cx:pt idx="9376">495000</cx:pt>
          <cx:pt idx="9377">495000</cx:pt>
          <cx:pt idx="9378">495000</cx:pt>
          <cx:pt idx="9379">495000</cx:pt>
          <cx:pt idx="9380">495000</cx:pt>
          <cx:pt idx="9381">495000</cx:pt>
          <cx:pt idx="9382">495000</cx:pt>
          <cx:pt idx="9383">495000</cx:pt>
          <cx:pt idx="9384">495000</cx:pt>
          <cx:pt idx="9385">495000</cx:pt>
          <cx:pt idx="9386">495000</cx:pt>
          <cx:pt idx="9387">495000</cx:pt>
          <cx:pt idx="9388">495000</cx:pt>
          <cx:pt idx="9389">495000</cx:pt>
          <cx:pt idx="9390">495000</cx:pt>
          <cx:pt idx="9391">495000</cx:pt>
          <cx:pt idx="9392">495000</cx:pt>
          <cx:pt idx="9393">495000</cx:pt>
          <cx:pt idx="9394">494995</cx:pt>
          <cx:pt idx="9395">494950</cx:pt>
          <cx:pt idx="9396">494900</cx:pt>
          <cx:pt idx="9397">494815</cx:pt>
          <cx:pt idx="9398">494500</cx:pt>
          <cx:pt idx="9399">494400</cx:pt>
          <cx:pt idx="9400">494000</cx:pt>
          <cx:pt idx="9401">494000</cx:pt>
          <cx:pt idx="9402">494000</cx:pt>
          <cx:pt idx="9403">494000</cx:pt>
          <cx:pt idx="9404">494000</cx:pt>
          <cx:pt idx="9405">494000</cx:pt>
          <cx:pt idx="9406">493500</cx:pt>
          <cx:pt idx="9407">493000</cx:pt>
          <cx:pt idx="9408">493000</cx:pt>
          <cx:pt idx="9409">493000</cx:pt>
          <cx:pt idx="9410">493000</cx:pt>
          <cx:pt idx="9411">493000</cx:pt>
          <cx:pt idx="9412">493000</cx:pt>
          <cx:pt idx="9413">492650</cx:pt>
          <cx:pt idx="9414">492500</cx:pt>
          <cx:pt idx="9415">492500</cx:pt>
          <cx:pt idx="9416">492500</cx:pt>
          <cx:pt idx="9417">492450</cx:pt>
          <cx:pt idx="9418">492000</cx:pt>
          <cx:pt idx="9419">492000</cx:pt>
          <cx:pt idx="9420">492000</cx:pt>
          <cx:pt idx="9421">492000</cx:pt>
          <cx:pt idx="9422">492000</cx:pt>
          <cx:pt idx="9423">492000</cx:pt>
          <cx:pt idx="9424">492000</cx:pt>
          <cx:pt idx="9425">492000</cx:pt>
          <cx:pt idx="9426">492000</cx:pt>
          <cx:pt idx="9427">492000</cx:pt>
          <cx:pt idx="9428">492000</cx:pt>
          <cx:pt idx="9429">491950</cx:pt>
          <cx:pt idx="9430">491500</cx:pt>
          <cx:pt idx="9431">491500</cx:pt>
          <cx:pt idx="9432">491500</cx:pt>
          <cx:pt idx="9433">491500</cx:pt>
          <cx:pt idx="9434">491500</cx:pt>
          <cx:pt idx="9435">491300</cx:pt>
          <cx:pt idx="9436">491234</cx:pt>
          <cx:pt idx="9437">491150</cx:pt>
          <cx:pt idx="9438">491000</cx:pt>
          <cx:pt idx="9439">491000</cx:pt>
          <cx:pt idx="9440">491000</cx:pt>
          <cx:pt idx="9441">491000</cx:pt>
          <cx:pt idx="9442">491000</cx:pt>
          <cx:pt idx="9443">490600</cx:pt>
          <cx:pt idx="9444">490500</cx:pt>
          <cx:pt idx="9445">490000</cx:pt>
          <cx:pt idx="9446">490000</cx:pt>
          <cx:pt idx="9447">490000</cx:pt>
          <cx:pt idx="9448">490000</cx:pt>
          <cx:pt idx="9449">490000</cx:pt>
          <cx:pt idx="9450">490000</cx:pt>
          <cx:pt idx="9451">490000</cx:pt>
          <cx:pt idx="9452">490000</cx:pt>
          <cx:pt idx="9453">490000</cx:pt>
          <cx:pt idx="9454">490000</cx:pt>
          <cx:pt idx="9455">490000</cx:pt>
          <cx:pt idx="9456">490000</cx:pt>
          <cx:pt idx="9457">490000</cx:pt>
          <cx:pt idx="9458">490000</cx:pt>
          <cx:pt idx="9459">490000</cx:pt>
          <cx:pt idx="9460">490000</cx:pt>
          <cx:pt idx="9461">490000</cx:pt>
          <cx:pt idx="9462">490000</cx:pt>
          <cx:pt idx="9463">490000</cx:pt>
          <cx:pt idx="9464">490000</cx:pt>
          <cx:pt idx="9465">490000</cx:pt>
          <cx:pt idx="9466">490000</cx:pt>
          <cx:pt idx="9467">490000</cx:pt>
          <cx:pt idx="9468">490000</cx:pt>
          <cx:pt idx="9469">490000</cx:pt>
          <cx:pt idx="9470">490000</cx:pt>
          <cx:pt idx="9471">490000</cx:pt>
          <cx:pt idx="9472">490000</cx:pt>
          <cx:pt idx="9473">490000</cx:pt>
          <cx:pt idx="9474">490000</cx:pt>
          <cx:pt idx="9475">490000</cx:pt>
          <cx:pt idx="9476">490000</cx:pt>
          <cx:pt idx="9477">490000</cx:pt>
          <cx:pt idx="9478">490000</cx:pt>
          <cx:pt idx="9479">490000</cx:pt>
          <cx:pt idx="9480">490000</cx:pt>
          <cx:pt idx="9481">490000</cx:pt>
          <cx:pt idx="9482">490000</cx:pt>
          <cx:pt idx="9483">490000</cx:pt>
          <cx:pt idx="9484">490000</cx:pt>
          <cx:pt idx="9485">490000</cx:pt>
          <cx:pt idx="9486">490000</cx:pt>
          <cx:pt idx="9487">490000</cx:pt>
          <cx:pt idx="9488">490000</cx:pt>
          <cx:pt idx="9489">490000</cx:pt>
          <cx:pt idx="9490">490000</cx:pt>
          <cx:pt idx="9491">490000</cx:pt>
          <cx:pt idx="9492">490000</cx:pt>
          <cx:pt idx="9493">490000</cx:pt>
          <cx:pt idx="9494">490000</cx:pt>
          <cx:pt idx="9495">490000</cx:pt>
          <cx:pt idx="9496">490000</cx:pt>
          <cx:pt idx="9497">490000</cx:pt>
          <cx:pt idx="9498">490000</cx:pt>
          <cx:pt idx="9499">490000</cx:pt>
          <cx:pt idx="9500">490000</cx:pt>
          <cx:pt idx="9501">490000</cx:pt>
          <cx:pt idx="9502">490000</cx:pt>
          <cx:pt idx="9503">490000</cx:pt>
          <cx:pt idx="9504">490000</cx:pt>
          <cx:pt idx="9505">490000</cx:pt>
          <cx:pt idx="9506">490000</cx:pt>
          <cx:pt idx="9507">490000</cx:pt>
          <cx:pt idx="9508">490000</cx:pt>
          <cx:pt idx="9509">490000</cx:pt>
          <cx:pt idx="9510">490000</cx:pt>
          <cx:pt idx="9511">490000</cx:pt>
          <cx:pt idx="9512">490000</cx:pt>
          <cx:pt idx="9513">490000</cx:pt>
          <cx:pt idx="9514">490000</cx:pt>
          <cx:pt idx="9515">490000</cx:pt>
          <cx:pt idx="9516">490000</cx:pt>
          <cx:pt idx="9517">490000</cx:pt>
          <cx:pt idx="9518">490000</cx:pt>
          <cx:pt idx="9519">490000</cx:pt>
          <cx:pt idx="9520">490000</cx:pt>
          <cx:pt idx="9521">490000</cx:pt>
          <cx:pt idx="9522">490000</cx:pt>
          <cx:pt idx="9523">490000</cx:pt>
          <cx:pt idx="9524">490000</cx:pt>
          <cx:pt idx="9525">490000</cx:pt>
          <cx:pt idx="9526">490000</cx:pt>
          <cx:pt idx="9527">490000</cx:pt>
          <cx:pt idx="9528">490000</cx:pt>
          <cx:pt idx="9529">490000</cx:pt>
          <cx:pt idx="9530">490000</cx:pt>
          <cx:pt idx="9531">490000</cx:pt>
          <cx:pt idx="9532">490000</cx:pt>
          <cx:pt idx="9533">489990</cx:pt>
          <cx:pt idx="9534">489950</cx:pt>
          <cx:pt idx="9535">489950</cx:pt>
          <cx:pt idx="9536">489950</cx:pt>
          <cx:pt idx="9537">489950</cx:pt>
          <cx:pt idx="9538">489950</cx:pt>
          <cx:pt idx="9539">489950</cx:pt>
          <cx:pt idx="9540">489950</cx:pt>
          <cx:pt idx="9541">489950</cx:pt>
          <cx:pt idx="9542">489900</cx:pt>
          <cx:pt idx="9543">489900</cx:pt>
          <cx:pt idx="9544">489500</cx:pt>
          <cx:pt idx="9545">489500</cx:pt>
          <cx:pt idx="9546">489200</cx:pt>
          <cx:pt idx="9547">489000</cx:pt>
          <cx:pt idx="9548">489000</cx:pt>
          <cx:pt idx="9549">489000</cx:pt>
          <cx:pt idx="9550">489000</cx:pt>
          <cx:pt idx="9551">489000</cx:pt>
          <cx:pt idx="9552">489000</cx:pt>
          <cx:pt idx="9553">489000</cx:pt>
          <cx:pt idx="9554">489000</cx:pt>
          <cx:pt idx="9555">489000</cx:pt>
          <cx:pt idx="9556">489000</cx:pt>
          <cx:pt idx="9557">489000</cx:pt>
          <cx:pt idx="9558">489000</cx:pt>
          <cx:pt idx="9559">489000</cx:pt>
          <cx:pt idx="9560">489000</cx:pt>
          <cx:pt idx="9561">489000</cx:pt>
          <cx:pt idx="9562">488800</cx:pt>
          <cx:pt idx="9563">488500</cx:pt>
          <cx:pt idx="9564">488500</cx:pt>
          <cx:pt idx="9565">488250</cx:pt>
          <cx:pt idx="9566">488000</cx:pt>
          <cx:pt idx="9567">488000</cx:pt>
          <cx:pt idx="9568">488000</cx:pt>
          <cx:pt idx="9569">488000</cx:pt>
          <cx:pt idx="9570">488000</cx:pt>
          <cx:pt idx="9571">488000</cx:pt>
          <cx:pt idx="9572">488000</cx:pt>
          <cx:pt idx="9573">488000</cx:pt>
          <cx:pt idx="9574">488000</cx:pt>
          <cx:pt idx="9575">487600</cx:pt>
          <cx:pt idx="9576">487585</cx:pt>
          <cx:pt idx="9577">487500</cx:pt>
          <cx:pt idx="9578">487500</cx:pt>
          <cx:pt idx="9579">487500</cx:pt>
          <cx:pt idx="9580">487500</cx:pt>
          <cx:pt idx="9581">487275</cx:pt>
          <cx:pt idx="9582">487250</cx:pt>
          <cx:pt idx="9583">487028</cx:pt>
          <cx:pt idx="9584">487000</cx:pt>
          <cx:pt idx="9585">487000</cx:pt>
          <cx:pt idx="9586">487000</cx:pt>
          <cx:pt idx="9587">487000</cx:pt>
          <cx:pt idx="9588">487000</cx:pt>
          <cx:pt idx="9589">487000</cx:pt>
          <cx:pt idx="9590">487000</cx:pt>
          <cx:pt idx="9591">487000</cx:pt>
          <cx:pt idx="9592">487000</cx:pt>
          <cx:pt idx="9593">486940</cx:pt>
          <cx:pt idx="9594">486700</cx:pt>
          <cx:pt idx="9595">486000</cx:pt>
          <cx:pt idx="9596">486000</cx:pt>
          <cx:pt idx="9597">486000</cx:pt>
          <cx:pt idx="9598">485500</cx:pt>
          <cx:pt idx="9599">485500</cx:pt>
          <cx:pt idx="9600">485500</cx:pt>
          <cx:pt idx="9601">485230</cx:pt>
          <cx:pt idx="9602">485000</cx:pt>
          <cx:pt idx="9603">485000</cx:pt>
          <cx:pt idx="9604">485000</cx:pt>
          <cx:pt idx="9605">485000</cx:pt>
          <cx:pt idx="9606">485000</cx:pt>
          <cx:pt idx="9607">485000</cx:pt>
          <cx:pt idx="9608">485000</cx:pt>
          <cx:pt idx="9609">485000</cx:pt>
          <cx:pt idx="9610">485000</cx:pt>
          <cx:pt idx="9611">485000</cx:pt>
          <cx:pt idx="9612">485000</cx:pt>
          <cx:pt idx="9613">485000</cx:pt>
          <cx:pt idx="9614">485000</cx:pt>
          <cx:pt idx="9615">485000</cx:pt>
          <cx:pt idx="9616">485000</cx:pt>
          <cx:pt idx="9617">485000</cx:pt>
          <cx:pt idx="9618">485000</cx:pt>
          <cx:pt idx="9619">485000</cx:pt>
          <cx:pt idx="9620">485000</cx:pt>
          <cx:pt idx="9621">485000</cx:pt>
          <cx:pt idx="9622">485000</cx:pt>
          <cx:pt idx="9623">485000</cx:pt>
          <cx:pt idx="9624">485000</cx:pt>
          <cx:pt idx="9625">485000</cx:pt>
          <cx:pt idx="9626">485000</cx:pt>
          <cx:pt idx="9627">485000</cx:pt>
          <cx:pt idx="9628">485000</cx:pt>
          <cx:pt idx="9629">485000</cx:pt>
          <cx:pt idx="9630">485000</cx:pt>
          <cx:pt idx="9631">485000</cx:pt>
          <cx:pt idx="9632">485000</cx:pt>
          <cx:pt idx="9633">485000</cx:pt>
          <cx:pt idx="9634">485000</cx:pt>
          <cx:pt idx="9635">485000</cx:pt>
          <cx:pt idx="9636">485000</cx:pt>
          <cx:pt idx="9637">485000</cx:pt>
          <cx:pt idx="9638">485000</cx:pt>
          <cx:pt idx="9639">485000</cx:pt>
          <cx:pt idx="9640">485000</cx:pt>
          <cx:pt idx="9641">485000</cx:pt>
          <cx:pt idx="9642">485000</cx:pt>
          <cx:pt idx="9643">485000</cx:pt>
          <cx:pt idx="9644">485000</cx:pt>
          <cx:pt idx="9645">485000</cx:pt>
          <cx:pt idx="9646">485000</cx:pt>
          <cx:pt idx="9647">485000</cx:pt>
          <cx:pt idx="9648">485000</cx:pt>
          <cx:pt idx="9649">485000</cx:pt>
          <cx:pt idx="9650">485000</cx:pt>
          <cx:pt idx="9651">485000</cx:pt>
          <cx:pt idx="9652">485000</cx:pt>
          <cx:pt idx="9653">485000</cx:pt>
          <cx:pt idx="9654">485000</cx:pt>
          <cx:pt idx="9655">485000</cx:pt>
          <cx:pt idx="9656">485000</cx:pt>
          <cx:pt idx="9657">485000</cx:pt>
          <cx:pt idx="9658">485000</cx:pt>
          <cx:pt idx="9659">485000</cx:pt>
          <cx:pt idx="9660">485000</cx:pt>
          <cx:pt idx="9661">485000</cx:pt>
          <cx:pt idx="9662">485000</cx:pt>
          <cx:pt idx="9663">485000</cx:pt>
          <cx:pt idx="9664">485000</cx:pt>
          <cx:pt idx="9665">485000</cx:pt>
          <cx:pt idx="9666">485000</cx:pt>
          <cx:pt idx="9667">485000</cx:pt>
          <cx:pt idx="9668">485000</cx:pt>
          <cx:pt idx="9669">485000</cx:pt>
          <cx:pt idx="9670">485000</cx:pt>
          <cx:pt idx="9671">485000</cx:pt>
          <cx:pt idx="9672">485000</cx:pt>
          <cx:pt idx="9673">485000</cx:pt>
          <cx:pt idx="9674">485000</cx:pt>
          <cx:pt idx="9675">485000</cx:pt>
          <cx:pt idx="9676">485000</cx:pt>
          <cx:pt idx="9677">485000</cx:pt>
          <cx:pt idx="9678">485000</cx:pt>
          <cx:pt idx="9679">485000</cx:pt>
          <cx:pt idx="9680">485000</cx:pt>
          <cx:pt idx="9681">485000</cx:pt>
          <cx:pt idx="9682">485000</cx:pt>
          <cx:pt idx="9683">485000</cx:pt>
          <cx:pt idx="9684">484998</cx:pt>
          <cx:pt idx="9685">484950</cx:pt>
          <cx:pt idx="9686">484950</cx:pt>
          <cx:pt idx="9687">484950</cx:pt>
          <cx:pt idx="9688">484259</cx:pt>
          <cx:pt idx="9689">484000</cx:pt>
          <cx:pt idx="9690">484000</cx:pt>
          <cx:pt idx="9691">484000</cx:pt>
          <cx:pt idx="9692">484000</cx:pt>
          <cx:pt idx="9693">484000</cx:pt>
          <cx:pt idx="9694">484000</cx:pt>
          <cx:pt idx="9695">484000</cx:pt>
          <cx:pt idx="9696">483945</cx:pt>
          <cx:pt idx="9697">483500</cx:pt>
          <cx:pt idx="9698">483500</cx:pt>
          <cx:pt idx="9699">483500</cx:pt>
          <cx:pt idx="9700">483453</cx:pt>
          <cx:pt idx="9701">483300</cx:pt>
          <cx:pt idx="9702">483000</cx:pt>
          <cx:pt idx="9703">483000</cx:pt>
          <cx:pt idx="9704">483000</cx:pt>
          <cx:pt idx="9705">483000</cx:pt>
          <cx:pt idx="9706">483000</cx:pt>
          <cx:pt idx="9707">483000</cx:pt>
          <cx:pt idx="9708">482975</cx:pt>
          <cx:pt idx="9709">482500</cx:pt>
          <cx:pt idx="9710">482500</cx:pt>
          <cx:pt idx="9711">482500</cx:pt>
          <cx:pt idx="9712">482500</cx:pt>
          <cx:pt idx="9713">482500</cx:pt>
          <cx:pt idx="9714">482500</cx:pt>
          <cx:pt idx="9715">482000</cx:pt>
          <cx:pt idx="9716">482000</cx:pt>
          <cx:pt idx="9717">482000</cx:pt>
          <cx:pt idx="9718">482000</cx:pt>
          <cx:pt idx="9719">482000</cx:pt>
          <cx:pt idx="9720">482000</cx:pt>
          <cx:pt idx="9721">482000</cx:pt>
          <cx:pt idx="9722">482000</cx:pt>
          <cx:pt idx="9723">482000</cx:pt>
          <cx:pt idx="9724">482000</cx:pt>
          <cx:pt idx="9725">482000</cx:pt>
          <cx:pt idx="9726">482000</cx:pt>
          <cx:pt idx="9727">482000</cx:pt>
          <cx:pt idx="9728">482000</cx:pt>
          <cx:pt idx="9729">481500</cx:pt>
          <cx:pt idx="9730">481500</cx:pt>
          <cx:pt idx="9731">481450</cx:pt>
          <cx:pt idx="9732">481203</cx:pt>
          <cx:pt idx="9733">481015</cx:pt>
          <cx:pt idx="9734">481000</cx:pt>
          <cx:pt idx="9735">481000</cx:pt>
          <cx:pt idx="9736">481000</cx:pt>
          <cx:pt idx="9737">481000</cx:pt>
          <cx:pt idx="9738">481000</cx:pt>
          <cx:pt idx="9739">481000</cx:pt>
          <cx:pt idx="9740">481000</cx:pt>
          <cx:pt idx="9741">481000</cx:pt>
          <cx:pt idx="9742">480680</cx:pt>
          <cx:pt idx="9743">480500</cx:pt>
          <cx:pt idx="9744">480000</cx:pt>
          <cx:pt idx="9745">480000</cx:pt>
          <cx:pt idx="9746">480000</cx:pt>
          <cx:pt idx="9747">480000</cx:pt>
          <cx:pt idx="9748">480000</cx:pt>
          <cx:pt idx="9749">480000</cx:pt>
          <cx:pt idx="9750">480000</cx:pt>
          <cx:pt idx="9751">480000</cx:pt>
          <cx:pt idx="9752">480000</cx:pt>
          <cx:pt idx="9753">480000</cx:pt>
          <cx:pt idx="9754">480000</cx:pt>
          <cx:pt idx="9755">480000</cx:pt>
          <cx:pt idx="9756">480000</cx:pt>
          <cx:pt idx="9757">480000</cx:pt>
          <cx:pt idx="9758">480000</cx:pt>
          <cx:pt idx="9759">480000</cx:pt>
          <cx:pt idx="9760">480000</cx:pt>
          <cx:pt idx="9761">480000</cx:pt>
          <cx:pt idx="9762">480000</cx:pt>
          <cx:pt idx="9763">480000</cx:pt>
          <cx:pt idx="9764">480000</cx:pt>
          <cx:pt idx="9765">480000</cx:pt>
          <cx:pt idx="9766">480000</cx:pt>
          <cx:pt idx="9767">480000</cx:pt>
          <cx:pt idx="9768">480000</cx:pt>
          <cx:pt idx="9769">480000</cx:pt>
          <cx:pt idx="9770">480000</cx:pt>
          <cx:pt idx="9771">480000</cx:pt>
          <cx:pt idx="9772">480000</cx:pt>
          <cx:pt idx="9773">480000</cx:pt>
          <cx:pt idx="9774">480000</cx:pt>
          <cx:pt idx="9775">480000</cx:pt>
          <cx:pt idx="9776">480000</cx:pt>
          <cx:pt idx="9777">480000</cx:pt>
          <cx:pt idx="9778">480000</cx:pt>
          <cx:pt idx="9779">480000</cx:pt>
          <cx:pt idx="9780">480000</cx:pt>
          <cx:pt idx="9781">480000</cx:pt>
          <cx:pt idx="9782">480000</cx:pt>
          <cx:pt idx="9783">480000</cx:pt>
          <cx:pt idx="9784">480000</cx:pt>
          <cx:pt idx="9785">480000</cx:pt>
          <cx:pt idx="9786">480000</cx:pt>
          <cx:pt idx="9787">480000</cx:pt>
          <cx:pt idx="9788">480000</cx:pt>
          <cx:pt idx="9789">480000</cx:pt>
          <cx:pt idx="9790">480000</cx:pt>
          <cx:pt idx="9791">480000</cx:pt>
          <cx:pt idx="9792">480000</cx:pt>
          <cx:pt idx="9793">480000</cx:pt>
          <cx:pt idx="9794">480000</cx:pt>
          <cx:pt idx="9795">480000</cx:pt>
          <cx:pt idx="9796">480000</cx:pt>
          <cx:pt idx="9797">480000</cx:pt>
          <cx:pt idx="9798">480000</cx:pt>
          <cx:pt idx="9799">480000</cx:pt>
          <cx:pt idx="9800">480000</cx:pt>
          <cx:pt idx="9801">480000</cx:pt>
          <cx:pt idx="9802">480000</cx:pt>
          <cx:pt idx="9803">480000</cx:pt>
          <cx:pt idx="9804">480000</cx:pt>
          <cx:pt idx="9805">480000</cx:pt>
          <cx:pt idx="9806">480000</cx:pt>
          <cx:pt idx="9807">480000</cx:pt>
          <cx:pt idx="9808">480000</cx:pt>
          <cx:pt idx="9809">480000</cx:pt>
          <cx:pt idx="9810">480000</cx:pt>
          <cx:pt idx="9811">480000</cx:pt>
          <cx:pt idx="9812">480000</cx:pt>
          <cx:pt idx="9813">480000</cx:pt>
          <cx:pt idx="9814">480000</cx:pt>
          <cx:pt idx="9815">480000</cx:pt>
          <cx:pt idx="9816">480000</cx:pt>
          <cx:pt idx="9817">480000</cx:pt>
          <cx:pt idx="9818">480000</cx:pt>
          <cx:pt idx="9819">480000</cx:pt>
          <cx:pt idx="9820">480000</cx:pt>
          <cx:pt idx="9821">480000</cx:pt>
          <cx:pt idx="9822">480000</cx:pt>
          <cx:pt idx="9823">480000</cx:pt>
          <cx:pt idx="9824">480000</cx:pt>
          <cx:pt idx="9825">479990</cx:pt>
          <cx:pt idx="9826">479950</cx:pt>
          <cx:pt idx="9827">479950</cx:pt>
          <cx:pt idx="9828">479950</cx:pt>
          <cx:pt idx="9829">479950</cx:pt>
          <cx:pt idx="9830">479950</cx:pt>
          <cx:pt idx="9831">479950</cx:pt>
          <cx:pt idx="9832">479950</cx:pt>
          <cx:pt idx="9833">479900</cx:pt>
          <cx:pt idx="9834">479900</cx:pt>
          <cx:pt idx="9835">479500</cx:pt>
          <cx:pt idx="9836">479500</cx:pt>
          <cx:pt idx="9837">479349</cx:pt>
          <cx:pt idx="9838">479200</cx:pt>
          <cx:pt idx="9839">479000</cx:pt>
          <cx:pt idx="9840">479000</cx:pt>
          <cx:pt idx="9841">479000</cx:pt>
          <cx:pt idx="9842">479000</cx:pt>
          <cx:pt idx="9843">479000</cx:pt>
          <cx:pt idx="9844">479000</cx:pt>
          <cx:pt idx="9845">479000</cx:pt>
          <cx:pt idx="9846">479000</cx:pt>
          <cx:pt idx="9847">479000</cx:pt>
          <cx:pt idx="9848">479000</cx:pt>
          <cx:pt idx="9849">479000</cx:pt>
          <cx:pt idx="9850">479000</cx:pt>
          <cx:pt idx="9851">479000</cx:pt>
          <cx:pt idx="9852">479000</cx:pt>
          <cx:pt idx="9853">479000</cx:pt>
          <cx:pt idx="9854">479000</cx:pt>
          <cx:pt idx="9855">478830</cx:pt>
          <cx:pt idx="9856">478500</cx:pt>
          <cx:pt idx="9857">478000</cx:pt>
          <cx:pt idx="9858">478000</cx:pt>
          <cx:pt idx="9859">478000</cx:pt>
          <cx:pt idx="9860">478000</cx:pt>
          <cx:pt idx="9861">478000</cx:pt>
          <cx:pt idx="9862">478000</cx:pt>
          <cx:pt idx="9863">478000</cx:pt>
          <cx:pt idx="9864">478000</cx:pt>
          <cx:pt idx="9865">478000</cx:pt>
          <cx:pt idx="9866">478000</cx:pt>
          <cx:pt idx="9867">478000</cx:pt>
          <cx:pt idx="9868">478000</cx:pt>
          <cx:pt idx="9869">478000</cx:pt>
          <cx:pt idx="9870">477590</cx:pt>
          <cx:pt idx="9871">477500</cx:pt>
          <cx:pt idx="9872">477500</cx:pt>
          <cx:pt idx="9873">477500</cx:pt>
          <cx:pt idx="9874">477500</cx:pt>
          <cx:pt idx="9875">477000</cx:pt>
          <cx:pt idx="9876">477000</cx:pt>
          <cx:pt idx="9877">477000</cx:pt>
          <cx:pt idx="9878">477000</cx:pt>
          <cx:pt idx="9879">477000</cx:pt>
          <cx:pt idx="9880">477000</cx:pt>
          <cx:pt idx="9881">477000</cx:pt>
          <cx:pt idx="9882">477000</cx:pt>
          <cx:pt idx="9883">477000</cx:pt>
          <cx:pt idx="9884">476900</cx:pt>
          <cx:pt idx="9885">476800</cx:pt>
          <cx:pt idx="9886">476500</cx:pt>
          <cx:pt idx="9887">476500</cx:pt>
          <cx:pt idx="9888">476500</cx:pt>
          <cx:pt idx="9889">476500</cx:pt>
          <cx:pt idx="9890">476100</cx:pt>
          <cx:pt idx="9891">476000</cx:pt>
          <cx:pt idx="9892">476000</cx:pt>
          <cx:pt idx="9893">476000</cx:pt>
          <cx:pt idx="9894">476000</cx:pt>
          <cx:pt idx="9895">476000</cx:pt>
          <cx:pt idx="9896">476000</cx:pt>
          <cx:pt idx="9897">476000</cx:pt>
          <cx:pt idx="9898">476000</cx:pt>
          <cx:pt idx="9899">476000</cx:pt>
          <cx:pt idx="9900">475999</cx:pt>
          <cx:pt idx="9901">475580</cx:pt>
          <cx:pt idx="9902">475500</cx:pt>
          <cx:pt idx="9903">475300</cx:pt>
          <cx:pt idx="9904">475226</cx:pt>
          <cx:pt idx="9905">475200</cx:pt>
          <cx:pt idx="9906">475000</cx:pt>
          <cx:pt idx="9907">475000</cx:pt>
          <cx:pt idx="9908">475000</cx:pt>
          <cx:pt idx="9909">475000</cx:pt>
          <cx:pt idx="9910">475000</cx:pt>
          <cx:pt idx="9911">475000</cx:pt>
          <cx:pt idx="9912">475000</cx:pt>
          <cx:pt idx="9913">475000</cx:pt>
          <cx:pt idx="9914">475000</cx:pt>
          <cx:pt idx="9915">475000</cx:pt>
          <cx:pt idx="9916">475000</cx:pt>
          <cx:pt idx="9917">475000</cx:pt>
          <cx:pt idx="9918">475000</cx:pt>
          <cx:pt idx="9919">475000</cx:pt>
          <cx:pt idx="9920">475000</cx:pt>
          <cx:pt idx="9921">475000</cx:pt>
          <cx:pt idx="9922">475000</cx:pt>
          <cx:pt idx="9923">475000</cx:pt>
          <cx:pt idx="9924">475000</cx:pt>
          <cx:pt idx="9925">475000</cx:pt>
          <cx:pt idx="9926">475000</cx:pt>
          <cx:pt idx="9927">475000</cx:pt>
          <cx:pt idx="9928">475000</cx:pt>
          <cx:pt idx="9929">475000</cx:pt>
          <cx:pt idx="9930">475000</cx:pt>
          <cx:pt idx="9931">475000</cx:pt>
          <cx:pt idx="9932">475000</cx:pt>
          <cx:pt idx="9933">475000</cx:pt>
          <cx:pt idx="9934">475000</cx:pt>
          <cx:pt idx="9935">475000</cx:pt>
          <cx:pt idx="9936">475000</cx:pt>
          <cx:pt idx="9937">475000</cx:pt>
          <cx:pt idx="9938">475000</cx:pt>
          <cx:pt idx="9939">475000</cx:pt>
          <cx:pt idx="9940">475000</cx:pt>
          <cx:pt idx="9941">475000</cx:pt>
          <cx:pt idx="9942">475000</cx:pt>
          <cx:pt idx="9943">475000</cx:pt>
          <cx:pt idx="9944">475000</cx:pt>
          <cx:pt idx="9945">475000</cx:pt>
          <cx:pt idx="9946">475000</cx:pt>
          <cx:pt idx="9947">475000</cx:pt>
          <cx:pt idx="9948">475000</cx:pt>
          <cx:pt idx="9949">475000</cx:pt>
          <cx:pt idx="9950">475000</cx:pt>
          <cx:pt idx="9951">475000</cx:pt>
          <cx:pt idx="9952">475000</cx:pt>
          <cx:pt idx="9953">475000</cx:pt>
          <cx:pt idx="9954">475000</cx:pt>
          <cx:pt idx="9955">475000</cx:pt>
          <cx:pt idx="9956">475000</cx:pt>
          <cx:pt idx="9957">475000</cx:pt>
          <cx:pt idx="9958">475000</cx:pt>
          <cx:pt idx="9959">475000</cx:pt>
          <cx:pt idx="9960">475000</cx:pt>
          <cx:pt idx="9961">475000</cx:pt>
          <cx:pt idx="9962">475000</cx:pt>
          <cx:pt idx="9963">475000</cx:pt>
          <cx:pt idx="9964">475000</cx:pt>
          <cx:pt idx="9965">475000</cx:pt>
          <cx:pt idx="9966">475000</cx:pt>
          <cx:pt idx="9967">475000</cx:pt>
          <cx:pt idx="9968">475000</cx:pt>
          <cx:pt idx="9969">475000</cx:pt>
          <cx:pt idx="9970">475000</cx:pt>
          <cx:pt idx="9971">475000</cx:pt>
          <cx:pt idx="9972">475000</cx:pt>
          <cx:pt idx="9973">475000</cx:pt>
          <cx:pt idx="9974">475000</cx:pt>
          <cx:pt idx="9975">475000</cx:pt>
          <cx:pt idx="9976">475000</cx:pt>
          <cx:pt idx="9977">475000</cx:pt>
          <cx:pt idx="9978">475000</cx:pt>
          <cx:pt idx="9979">475000</cx:pt>
          <cx:pt idx="9980">475000</cx:pt>
          <cx:pt idx="9981">475000</cx:pt>
          <cx:pt idx="9982">475000</cx:pt>
          <cx:pt idx="9983">475000</cx:pt>
          <cx:pt idx="9984">475000</cx:pt>
          <cx:pt idx="9985">475000</cx:pt>
          <cx:pt idx="9986">475000</cx:pt>
          <cx:pt idx="9987">475000</cx:pt>
          <cx:pt idx="9988">475000</cx:pt>
          <cx:pt idx="9989">475000</cx:pt>
          <cx:pt idx="9990">475000</cx:pt>
          <cx:pt idx="9991">475000</cx:pt>
          <cx:pt idx="9992">475000</cx:pt>
          <cx:pt idx="9993">475000</cx:pt>
          <cx:pt idx="9994">475000</cx:pt>
          <cx:pt idx="9995">475000</cx:pt>
          <cx:pt idx="9996">475000</cx:pt>
          <cx:pt idx="9997">475000</cx:pt>
          <cx:pt idx="9998">475000</cx:pt>
          <cx:pt idx="9999">475000</cx:pt>
          <cx:pt idx="10000">475000</cx:pt>
          <cx:pt idx="10001">475000</cx:pt>
          <cx:pt idx="10002">475000</cx:pt>
          <cx:pt idx="10003">475000</cx:pt>
          <cx:pt idx="10004">475000</cx:pt>
          <cx:pt idx="10005">475000</cx:pt>
          <cx:pt idx="10006">475000</cx:pt>
          <cx:pt idx="10007">475000</cx:pt>
          <cx:pt idx="10008">475000</cx:pt>
          <cx:pt idx="10009">475000</cx:pt>
          <cx:pt idx="10010">475000</cx:pt>
          <cx:pt idx="10011">475000</cx:pt>
          <cx:pt idx="10012">475000</cx:pt>
          <cx:pt idx="10013">475000</cx:pt>
          <cx:pt idx="10014">475000</cx:pt>
          <cx:pt idx="10015">475000</cx:pt>
          <cx:pt idx="10016">475000</cx:pt>
          <cx:pt idx="10017">475000</cx:pt>
          <cx:pt idx="10018">475000</cx:pt>
          <cx:pt idx="10019">475000</cx:pt>
          <cx:pt idx="10020">475000</cx:pt>
          <cx:pt idx="10021">475000</cx:pt>
          <cx:pt idx="10022">475000</cx:pt>
          <cx:pt idx="10023">475000</cx:pt>
          <cx:pt idx="10024">475000</cx:pt>
          <cx:pt idx="10025">475000</cx:pt>
          <cx:pt idx="10026">474950</cx:pt>
          <cx:pt idx="10027">474950</cx:pt>
          <cx:pt idx="10028">474950</cx:pt>
          <cx:pt idx="10029">474950</cx:pt>
          <cx:pt idx="10030">474950</cx:pt>
          <cx:pt idx="10031">474905</cx:pt>
          <cx:pt idx="10032">474900</cx:pt>
          <cx:pt idx="10033">474900</cx:pt>
          <cx:pt idx="10034">474800</cx:pt>
          <cx:pt idx="10035">474500</cx:pt>
          <cx:pt idx="10036">474000</cx:pt>
          <cx:pt idx="10037">474000</cx:pt>
          <cx:pt idx="10038">474000</cx:pt>
          <cx:pt idx="10039">474000</cx:pt>
          <cx:pt idx="10040">474000</cx:pt>
          <cx:pt idx="10041">474000</cx:pt>
          <cx:pt idx="10042">473975</cx:pt>
          <cx:pt idx="10043">473600</cx:pt>
          <cx:pt idx="10044">473000</cx:pt>
          <cx:pt idx="10045">473000</cx:pt>
          <cx:pt idx="10046">473000</cx:pt>
          <cx:pt idx="10047">473000</cx:pt>
          <cx:pt idx="10048">473000</cx:pt>
          <cx:pt idx="10049">473000</cx:pt>
          <cx:pt idx="10050">473000</cx:pt>
          <cx:pt idx="10051">473000</cx:pt>
          <cx:pt idx="10052">473000</cx:pt>
          <cx:pt idx="10053">473000</cx:pt>
          <cx:pt idx="10054">473000</cx:pt>
          <cx:pt idx="10055">472800</cx:pt>
          <cx:pt idx="10056">472500</cx:pt>
          <cx:pt idx="10057">472500</cx:pt>
          <cx:pt idx="10058">472500</cx:pt>
          <cx:pt idx="10059">472500</cx:pt>
          <cx:pt idx="10060">472500</cx:pt>
          <cx:pt idx="10061">472500</cx:pt>
          <cx:pt idx="10062">472217</cx:pt>
          <cx:pt idx="10063">472000</cx:pt>
          <cx:pt idx="10064">472000</cx:pt>
          <cx:pt idx="10065">472000</cx:pt>
          <cx:pt idx="10066">472000</cx:pt>
          <cx:pt idx="10067">472000</cx:pt>
          <cx:pt idx="10068">472000</cx:pt>
          <cx:pt idx="10069">472000</cx:pt>
          <cx:pt idx="10070">472000</cx:pt>
          <cx:pt idx="10071">472000</cx:pt>
          <cx:pt idx="10072">472000</cx:pt>
          <cx:pt idx="10073">472000</cx:pt>
          <cx:pt idx="10074">472000</cx:pt>
          <cx:pt idx="10075">472000</cx:pt>
          <cx:pt idx="10076">471835</cx:pt>
          <cx:pt idx="10077">471750</cx:pt>
          <cx:pt idx="10078">471500</cx:pt>
          <cx:pt idx="10079">471275</cx:pt>
          <cx:pt idx="10080">471001</cx:pt>
          <cx:pt idx="10081">471000</cx:pt>
          <cx:pt idx="10082">471000</cx:pt>
          <cx:pt idx="10083">471000</cx:pt>
          <cx:pt idx="10084">471000</cx:pt>
          <cx:pt idx="10085">471000</cx:pt>
          <cx:pt idx="10086">471000</cx:pt>
          <cx:pt idx="10087">471000</cx:pt>
          <cx:pt idx="10088">471000</cx:pt>
          <cx:pt idx="10089">471000</cx:pt>
          <cx:pt idx="10090">471000</cx:pt>
          <cx:pt idx="10091">471000</cx:pt>
          <cx:pt idx="10092">470950</cx:pt>
          <cx:pt idx="10093">470500</cx:pt>
          <cx:pt idx="10094">470500</cx:pt>
          <cx:pt idx="10095">470450</cx:pt>
          <cx:pt idx="10096">470101</cx:pt>
          <cx:pt idx="10097">470000</cx:pt>
          <cx:pt idx="10098">470000</cx:pt>
          <cx:pt idx="10099">470000</cx:pt>
          <cx:pt idx="10100">470000</cx:pt>
          <cx:pt idx="10101">470000</cx:pt>
          <cx:pt idx="10102">470000</cx:pt>
          <cx:pt idx="10103">470000</cx:pt>
          <cx:pt idx="10104">470000</cx:pt>
          <cx:pt idx="10105">470000</cx:pt>
          <cx:pt idx="10106">470000</cx:pt>
          <cx:pt idx="10107">470000</cx:pt>
          <cx:pt idx="10108">470000</cx:pt>
          <cx:pt idx="10109">470000</cx:pt>
          <cx:pt idx="10110">470000</cx:pt>
          <cx:pt idx="10111">470000</cx:pt>
          <cx:pt idx="10112">470000</cx:pt>
          <cx:pt idx="10113">470000</cx:pt>
          <cx:pt idx="10114">470000</cx:pt>
          <cx:pt idx="10115">470000</cx:pt>
          <cx:pt idx="10116">470000</cx:pt>
          <cx:pt idx="10117">470000</cx:pt>
          <cx:pt idx="10118">470000</cx:pt>
          <cx:pt idx="10119">470000</cx:pt>
          <cx:pt idx="10120">470000</cx:pt>
          <cx:pt idx="10121">470000</cx:pt>
          <cx:pt idx="10122">470000</cx:pt>
          <cx:pt idx="10123">470000</cx:pt>
          <cx:pt idx="10124">470000</cx:pt>
          <cx:pt idx="10125">470000</cx:pt>
          <cx:pt idx="10126">470000</cx:pt>
          <cx:pt idx="10127">470000</cx:pt>
          <cx:pt idx="10128">470000</cx:pt>
          <cx:pt idx="10129">470000</cx:pt>
          <cx:pt idx="10130">470000</cx:pt>
          <cx:pt idx="10131">470000</cx:pt>
          <cx:pt idx="10132">470000</cx:pt>
          <cx:pt idx="10133">470000</cx:pt>
          <cx:pt idx="10134">470000</cx:pt>
          <cx:pt idx="10135">470000</cx:pt>
          <cx:pt idx="10136">470000</cx:pt>
          <cx:pt idx="10137">470000</cx:pt>
          <cx:pt idx="10138">470000</cx:pt>
          <cx:pt idx="10139">470000</cx:pt>
          <cx:pt idx="10140">470000</cx:pt>
          <cx:pt idx="10141">470000</cx:pt>
          <cx:pt idx="10142">470000</cx:pt>
          <cx:pt idx="10143">470000</cx:pt>
          <cx:pt idx="10144">470000</cx:pt>
          <cx:pt idx="10145">470000</cx:pt>
          <cx:pt idx="10146">470000</cx:pt>
          <cx:pt idx="10147">470000</cx:pt>
          <cx:pt idx="10148">470000</cx:pt>
          <cx:pt idx="10149">470000</cx:pt>
          <cx:pt idx="10150">470000</cx:pt>
          <cx:pt idx="10151">470000</cx:pt>
          <cx:pt idx="10152">470000</cx:pt>
          <cx:pt idx="10153">470000</cx:pt>
          <cx:pt idx="10154">470000</cx:pt>
          <cx:pt idx="10155">470000</cx:pt>
          <cx:pt idx="10156">470000</cx:pt>
          <cx:pt idx="10157">469995</cx:pt>
          <cx:pt idx="10158">469950</cx:pt>
          <cx:pt idx="10159">469950</cx:pt>
          <cx:pt idx="10160">469950</cx:pt>
          <cx:pt idx="10161">469950</cx:pt>
          <cx:pt idx="10162">469950</cx:pt>
          <cx:pt idx="10163">469950</cx:pt>
          <cx:pt idx="10164">469950</cx:pt>
          <cx:pt idx="10165">469950</cx:pt>
          <cx:pt idx="10166">469900</cx:pt>
          <cx:pt idx="10167">469900</cx:pt>
          <cx:pt idx="10168">469775</cx:pt>
          <cx:pt idx="10169">469500</cx:pt>
          <cx:pt idx="10170">469500</cx:pt>
          <cx:pt idx="10171">469500</cx:pt>
          <cx:pt idx="10172">469500</cx:pt>
          <cx:pt idx="10173">469000</cx:pt>
          <cx:pt idx="10174">469000</cx:pt>
          <cx:pt idx="10175">469000</cx:pt>
          <cx:pt idx="10176">469000</cx:pt>
          <cx:pt idx="10177">469000</cx:pt>
          <cx:pt idx="10178">469000</cx:pt>
          <cx:pt idx="10179">469000</cx:pt>
          <cx:pt idx="10180">469000</cx:pt>
          <cx:pt idx="10181">469000</cx:pt>
          <cx:pt idx="10182">469000</cx:pt>
          <cx:pt idx="10183">469000</cx:pt>
          <cx:pt idx="10184">469000</cx:pt>
          <cx:pt idx="10185">469000</cx:pt>
          <cx:pt idx="10186">469000</cx:pt>
          <cx:pt idx="10187">469000</cx:pt>
          <cx:pt idx="10188">469000</cx:pt>
          <cx:pt idx="10189">469000</cx:pt>
          <cx:pt idx="10190">469000</cx:pt>
          <cx:pt idx="10191">468500</cx:pt>
          <cx:pt idx="10192">468000</cx:pt>
          <cx:pt idx="10193">468000</cx:pt>
          <cx:pt idx="10194">468000</cx:pt>
          <cx:pt idx="10195">468000</cx:pt>
          <cx:pt idx="10196">468000</cx:pt>
          <cx:pt idx="10197">468000</cx:pt>
          <cx:pt idx="10198">468000</cx:pt>
          <cx:pt idx="10199">468000</cx:pt>
          <cx:pt idx="10200">468000</cx:pt>
          <cx:pt idx="10201">468000</cx:pt>
          <cx:pt idx="10202">468000</cx:pt>
          <cx:pt idx="10203">468000</cx:pt>
          <cx:pt idx="10204">468000</cx:pt>
          <cx:pt idx="10205">468000</cx:pt>
          <cx:pt idx="10206">467500</cx:pt>
          <cx:pt idx="10207">467500</cx:pt>
          <cx:pt idx="10208">467500</cx:pt>
          <cx:pt idx="10209">467500</cx:pt>
          <cx:pt idx="10210">467500</cx:pt>
          <cx:pt idx="10211">467500</cx:pt>
          <cx:pt idx="10212">467100</cx:pt>
          <cx:pt idx="10213">467000</cx:pt>
          <cx:pt idx="10214">467000</cx:pt>
          <cx:pt idx="10215">467000</cx:pt>
          <cx:pt idx="10216">467000</cx:pt>
          <cx:pt idx="10217">467000</cx:pt>
          <cx:pt idx="10218">467000</cx:pt>
          <cx:pt idx="10219">467000</cx:pt>
          <cx:pt idx="10220">467000</cx:pt>
          <cx:pt idx="10221">467000</cx:pt>
          <cx:pt idx="10222">467000</cx:pt>
          <cx:pt idx="10223">467000</cx:pt>
          <cx:pt idx="10224">467000</cx:pt>
          <cx:pt idx="10225">467000</cx:pt>
          <cx:pt idx="10226">467000</cx:pt>
          <cx:pt idx="10227">467000</cx:pt>
          <cx:pt idx="10228">467000</cx:pt>
          <cx:pt idx="10229">467000</cx:pt>
          <cx:pt idx="10230">466950</cx:pt>
          <cx:pt idx="10231">466800</cx:pt>
          <cx:pt idx="10232">466750</cx:pt>
          <cx:pt idx="10233">466500</cx:pt>
          <cx:pt idx="10234">466200</cx:pt>
          <cx:pt idx="10235">466000</cx:pt>
          <cx:pt idx="10236">466000</cx:pt>
          <cx:pt idx="10237">466000</cx:pt>
          <cx:pt idx="10238">466000</cx:pt>
          <cx:pt idx="10239">466000</cx:pt>
          <cx:pt idx="10240">465950</cx:pt>
          <cx:pt idx="10241">465750</cx:pt>
          <cx:pt idx="10242">465750</cx:pt>
          <cx:pt idx="10243">465500</cx:pt>
          <cx:pt idx="10244">465425</cx:pt>
          <cx:pt idx="10245">465250</cx:pt>
          <cx:pt idx="10246">465000</cx:pt>
          <cx:pt idx="10247">465000</cx:pt>
          <cx:pt idx="10248">465000</cx:pt>
          <cx:pt idx="10249">465000</cx:pt>
          <cx:pt idx="10250">465000</cx:pt>
          <cx:pt idx="10251">465000</cx:pt>
          <cx:pt idx="10252">465000</cx:pt>
          <cx:pt idx="10253">465000</cx:pt>
          <cx:pt idx="10254">465000</cx:pt>
          <cx:pt idx="10255">465000</cx:pt>
          <cx:pt idx="10256">465000</cx:pt>
          <cx:pt idx="10257">465000</cx:pt>
          <cx:pt idx="10258">465000</cx:pt>
          <cx:pt idx="10259">465000</cx:pt>
          <cx:pt idx="10260">465000</cx:pt>
          <cx:pt idx="10261">465000</cx:pt>
          <cx:pt idx="10262">465000</cx:pt>
          <cx:pt idx="10263">465000</cx:pt>
          <cx:pt idx="10264">465000</cx:pt>
          <cx:pt idx="10265">465000</cx:pt>
          <cx:pt idx="10266">465000</cx:pt>
          <cx:pt idx="10267">465000</cx:pt>
          <cx:pt idx="10268">465000</cx:pt>
          <cx:pt idx="10269">465000</cx:pt>
          <cx:pt idx="10270">465000</cx:pt>
          <cx:pt idx="10271">465000</cx:pt>
          <cx:pt idx="10272">465000</cx:pt>
          <cx:pt idx="10273">465000</cx:pt>
          <cx:pt idx="10274">465000</cx:pt>
          <cx:pt idx="10275">465000</cx:pt>
          <cx:pt idx="10276">465000</cx:pt>
          <cx:pt idx="10277">465000</cx:pt>
          <cx:pt idx="10278">465000</cx:pt>
          <cx:pt idx="10279">465000</cx:pt>
          <cx:pt idx="10280">465000</cx:pt>
          <cx:pt idx="10281">465000</cx:pt>
          <cx:pt idx="10282">465000</cx:pt>
          <cx:pt idx="10283">465000</cx:pt>
          <cx:pt idx="10284">465000</cx:pt>
          <cx:pt idx="10285">465000</cx:pt>
          <cx:pt idx="10286">465000</cx:pt>
          <cx:pt idx="10287">465000</cx:pt>
          <cx:pt idx="10288">465000</cx:pt>
          <cx:pt idx="10289">465000</cx:pt>
          <cx:pt idx="10290">465000</cx:pt>
          <cx:pt idx="10291">465000</cx:pt>
          <cx:pt idx="10292">465000</cx:pt>
          <cx:pt idx="10293">465000</cx:pt>
          <cx:pt idx="10294">465000</cx:pt>
          <cx:pt idx="10295">465000</cx:pt>
          <cx:pt idx="10296">465000</cx:pt>
          <cx:pt idx="10297">465000</cx:pt>
          <cx:pt idx="10298">465000</cx:pt>
          <cx:pt idx="10299">465000</cx:pt>
          <cx:pt idx="10300">465000</cx:pt>
          <cx:pt idx="10301">465000</cx:pt>
          <cx:pt idx="10302">465000</cx:pt>
          <cx:pt idx="10303">465000</cx:pt>
          <cx:pt idx="10304">465000</cx:pt>
          <cx:pt idx="10305">465000</cx:pt>
          <cx:pt idx="10306">465000</cx:pt>
          <cx:pt idx="10307">465000</cx:pt>
          <cx:pt idx="10308">465000</cx:pt>
          <cx:pt idx="10309">465000</cx:pt>
          <cx:pt idx="10310">465000</cx:pt>
          <cx:pt idx="10311">465000</cx:pt>
          <cx:pt idx="10312">465000</cx:pt>
          <cx:pt idx="10313">465000</cx:pt>
          <cx:pt idx="10314">465000</cx:pt>
          <cx:pt idx="10315">465000</cx:pt>
          <cx:pt idx="10316">465000</cx:pt>
          <cx:pt idx="10317">465000</cx:pt>
          <cx:pt idx="10318">465000</cx:pt>
          <cx:pt idx="10319">465000</cx:pt>
          <cx:pt idx="10320">465000</cx:pt>
          <cx:pt idx="10321">465000</cx:pt>
          <cx:pt idx="10322">465000</cx:pt>
          <cx:pt idx="10323">465000</cx:pt>
          <cx:pt idx="10324">465000</cx:pt>
          <cx:pt idx="10325">465000</cx:pt>
          <cx:pt idx="10326">465000</cx:pt>
          <cx:pt idx="10327">465000</cx:pt>
          <cx:pt idx="10328">465000</cx:pt>
          <cx:pt idx="10329">465000</cx:pt>
          <cx:pt idx="10330">465000</cx:pt>
          <cx:pt idx="10331">465000</cx:pt>
          <cx:pt idx="10332">465000</cx:pt>
          <cx:pt idx="10333">465000</cx:pt>
          <cx:pt idx="10334">465000</cx:pt>
          <cx:pt idx="10335">464950</cx:pt>
          <cx:pt idx="10336">464950</cx:pt>
          <cx:pt idx="10337">464950</cx:pt>
          <cx:pt idx="10338">464950</cx:pt>
          <cx:pt idx="10339">464950</cx:pt>
          <cx:pt idx="10340">464900</cx:pt>
          <cx:pt idx="10341">464625</cx:pt>
          <cx:pt idx="10342">464600</cx:pt>
          <cx:pt idx="10343">464550</cx:pt>
          <cx:pt idx="10344">464500</cx:pt>
          <cx:pt idx="10345">464500</cx:pt>
          <cx:pt idx="10346">464500</cx:pt>
          <cx:pt idx="10347">464050</cx:pt>
          <cx:pt idx="10348">464000</cx:pt>
          <cx:pt idx="10349">464000</cx:pt>
          <cx:pt idx="10350">464000</cx:pt>
          <cx:pt idx="10351">464000</cx:pt>
          <cx:pt idx="10352">464000</cx:pt>
          <cx:pt idx="10353">464000</cx:pt>
          <cx:pt idx="10354">464000</cx:pt>
          <cx:pt idx="10355">464000</cx:pt>
          <cx:pt idx="10356">464000</cx:pt>
          <cx:pt idx="10357">464000</cx:pt>
          <cx:pt idx="10358">464000</cx:pt>
          <cx:pt idx="10359">464000</cx:pt>
          <cx:pt idx="10360">464000</cx:pt>
          <cx:pt idx="10361">464000</cx:pt>
          <cx:pt idx="10362">463828</cx:pt>
          <cx:pt idx="10363">463800</cx:pt>
          <cx:pt idx="10364">463500</cx:pt>
          <cx:pt idx="10365">463000</cx:pt>
          <cx:pt idx="10366">463000</cx:pt>
          <cx:pt idx="10367">463000</cx:pt>
          <cx:pt idx="10368">463000</cx:pt>
          <cx:pt idx="10369">463000</cx:pt>
          <cx:pt idx="10370">463000</cx:pt>
          <cx:pt idx="10371">463000</cx:pt>
          <cx:pt idx="10372">463000</cx:pt>
          <cx:pt idx="10373">463000</cx:pt>
          <cx:pt idx="10374">463000</cx:pt>
          <cx:pt idx="10375">463000</cx:pt>
          <cx:pt idx="10376">463000</cx:pt>
          <cx:pt idx="10377">462608</cx:pt>
          <cx:pt idx="10378">462600</cx:pt>
          <cx:pt idx="10379">462600</cx:pt>
          <cx:pt idx="10380">462550</cx:pt>
          <cx:pt idx="10381">462500</cx:pt>
          <cx:pt idx="10382">462500</cx:pt>
          <cx:pt idx="10383">462500</cx:pt>
          <cx:pt idx="10384">462500</cx:pt>
          <cx:pt idx="10385">462500</cx:pt>
          <cx:pt idx="10386">462500</cx:pt>
          <cx:pt idx="10387">462370</cx:pt>
          <cx:pt idx="10388">462000</cx:pt>
          <cx:pt idx="10389">462000</cx:pt>
          <cx:pt idx="10390">462000</cx:pt>
          <cx:pt idx="10391">462000</cx:pt>
          <cx:pt idx="10392">462000</cx:pt>
          <cx:pt idx="10393">462000</cx:pt>
          <cx:pt idx="10394">462000</cx:pt>
          <cx:pt idx="10395">462000</cx:pt>
          <cx:pt idx="10396">462000</cx:pt>
          <cx:pt idx="10397">461550</cx:pt>
          <cx:pt idx="10398">461500</cx:pt>
          <cx:pt idx="10399">461100</cx:pt>
          <cx:pt idx="10400">461000</cx:pt>
          <cx:pt idx="10401">461000</cx:pt>
          <cx:pt idx="10402">461000</cx:pt>
          <cx:pt idx="10403">461000</cx:pt>
          <cx:pt idx="10404">461000</cx:pt>
          <cx:pt idx="10405">461000</cx:pt>
          <cx:pt idx="10406">461000</cx:pt>
          <cx:pt idx="10407">461000</cx:pt>
          <cx:pt idx="10408">461000</cx:pt>
          <cx:pt idx="10409">461000</cx:pt>
          <cx:pt idx="10410">460940</cx:pt>
          <cx:pt idx="10411">460500</cx:pt>
          <cx:pt idx="10412">460500</cx:pt>
          <cx:pt idx="10413">460458</cx:pt>
          <cx:pt idx="10414">460000</cx:pt>
          <cx:pt idx="10415">460000</cx:pt>
          <cx:pt idx="10416">460000</cx:pt>
          <cx:pt idx="10417">460000</cx:pt>
          <cx:pt idx="10418">460000</cx:pt>
          <cx:pt idx="10419">460000</cx:pt>
          <cx:pt idx="10420">460000</cx:pt>
          <cx:pt idx="10421">460000</cx:pt>
          <cx:pt idx="10422">460000</cx:pt>
          <cx:pt idx="10423">460000</cx:pt>
          <cx:pt idx="10424">460000</cx:pt>
          <cx:pt idx="10425">460000</cx:pt>
          <cx:pt idx="10426">460000</cx:pt>
          <cx:pt idx="10427">460000</cx:pt>
          <cx:pt idx="10428">460000</cx:pt>
          <cx:pt idx="10429">460000</cx:pt>
          <cx:pt idx="10430">460000</cx:pt>
          <cx:pt idx="10431">460000</cx:pt>
          <cx:pt idx="10432">460000</cx:pt>
          <cx:pt idx="10433">460000</cx:pt>
          <cx:pt idx="10434">460000</cx:pt>
          <cx:pt idx="10435">460000</cx:pt>
          <cx:pt idx="10436">460000</cx:pt>
          <cx:pt idx="10437">460000</cx:pt>
          <cx:pt idx="10438">460000</cx:pt>
          <cx:pt idx="10439">460000</cx:pt>
          <cx:pt idx="10440">460000</cx:pt>
          <cx:pt idx="10441">460000</cx:pt>
          <cx:pt idx="10442">460000</cx:pt>
          <cx:pt idx="10443">460000</cx:pt>
          <cx:pt idx="10444">460000</cx:pt>
          <cx:pt idx="10445">460000</cx:pt>
          <cx:pt idx="10446">460000</cx:pt>
          <cx:pt idx="10447">460000</cx:pt>
          <cx:pt idx="10448">460000</cx:pt>
          <cx:pt idx="10449">460000</cx:pt>
          <cx:pt idx="10450">460000</cx:pt>
          <cx:pt idx="10451">460000</cx:pt>
          <cx:pt idx="10452">460000</cx:pt>
          <cx:pt idx="10453">460000</cx:pt>
          <cx:pt idx="10454">460000</cx:pt>
          <cx:pt idx="10455">460000</cx:pt>
          <cx:pt idx="10456">460000</cx:pt>
          <cx:pt idx="10457">460000</cx:pt>
          <cx:pt idx="10458">460000</cx:pt>
          <cx:pt idx="10459">460000</cx:pt>
          <cx:pt idx="10460">460000</cx:pt>
          <cx:pt idx="10461">460000</cx:pt>
          <cx:pt idx="10462">460000</cx:pt>
          <cx:pt idx="10463">460000</cx:pt>
          <cx:pt idx="10464">460000</cx:pt>
          <cx:pt idx="10465">460000</cx:pt>
          <cx:pt idx="10466">460000</cx:pt>
          <cx:pt idx="10467">460000</cx:pt>
          <cx:pt idx="10468">460000</cx:pt>
          <cx:pt idx="10469">460000</cx:pt>
          <cx:pt idx="10470">460000</cx:pt>
          <cx:pt idx="10471">460000</cx:pt>
          <cx:pt idx="10472">460000</cx:pt>
          <cx:pt idx="10473">460000</cx:pt>
          <cx:pt idx="10474">460000</cx:pt>
          <cx:pt idx="10475">460000</cx:pt>
          <cx:pt idx="10476">460000</cx:pt>
          <cx:pt idx="10477">460000</cx:pt>
          <cx:pt idx="10478">460000</cx:pt>
          <cx:pt idx="10479">460000</cx:pt>
          <cx:pt idx="10480">460000</cx:pt>
          <cx:pt idx="10481">460000</cx:pt>
          <cx:pt idx="10482">460000</cx:pt>
          <cx:pt idx="10483">460000</cx:pt>
          <cx:pt idx="10484">460000</cx:pt>
          <cx:pt idx="10485">460000</cx:pt>
          <cx:pt idx="10486">460000</cx:pt>
          <cx:pt idx="10487">460000</cx:pt>
          <cx:pt idx="10488">460000</cx:pt>
          <cx:pt idx="10489">460000</cx:pt>
          <cx:pt idx="10490">460000</cx:pt>
          <cx:pt idx="10491">460000</cx:pt>
          <cx:pt idx="10492">459995</cx:pt>
          <cx:pt idx="10493">459990</cx:pt>
          <cx:pt idx="10494">459950</cx:pt>
          <cx:pt idx="10495">459950</cx:pt>
          <cx:pt idx="10496">459950</cx:pt>
          <cx:pt idx="10497">459950</cx:pt>
          <cx:pt idx="10498">459950</cx:pt>
          <cx:pt idx="10499">459950</cx:pt>
          <cx:pt idx="10500">459950</cx:pt>
          <cx:pt idx="10501">459900</cx:pt>
          <cx:pt idx="10502">459900</cx:pt>
          <cx:pt idx="10503">459900</cx:pt>
          <cx:pt idx="10504">459800</cx:pt>
          <cx:pt idx="10505">459500</cx:pt>
          <cx:pt idx="10506">459500</cx:pt>
          <cx:pt idx="10507">459500</cx:pt>
          <cx:pt idx="10508">459500</cx:pt>
          <cx:pt idx="10509">459000</cx:pt>
          <cx:pt idx="10510">459000</cx:pt>
          <cx:pt idx="10511">459000</cx:pt>
          <cx:pt idx="10512">459000</cx:pt>
          <cx:pt idx="10513">459000</cx:pt>
          <cx:pt idx="10514">459000</cx:pt>
          <cx:pt idx="10515">459000</cx:pt>
          <cx:pt idx="10516">459000</cx:pt>
          <cx:pt idx="10517">459000</cx:pt>
          <cx:pt idx="10518">459000</cx:pt>
          <cx:pt idx="10519">459000</cx:pt>
          <cx:pt idx="10520">459000</cx:pt>
          <cx:pt idx="10521">459000</cx:pt>
          <cx:pt idx="10522">459000</cx:pt>
          <cx:pt idx="10523">459000</cx:pt>
          <cx:pt idx="10524">459000</cx:pt>
          <cx:pt idx="10525">459000</cx:pt>
          <cx:pt idx="10526">459000</cx:pt>
          <cx:pt idx="10527">459000</cx:pt>
          <cx:pt idx="10528">459000</cx:pt>
          <cx:pt idx="10529">458950</cx:pt>
          <cx:pt idx="10530">458500</cx:pt>
          <cx:pt idx="10531">458500</cx:pt>
          <cx:pt idx="10532">458500</cx:pt>
          <cx:pt idx="10533">458500</cx:pt>
          <cx:pt idx="10534">458450</cx:pt>
          <cx:pt idx="10535">458400</cx:pt>
          <cx:pt idx="10536">458000</cx:pt>
          <cx:pt idx="10537">458000</cx:pt>
          <cx:pt idx="10538">458000</cx:pt>
          <cx:pt idx="10539">458000</cx:pt>
          <cx:pt idx="10540">458000</cx:pt>
          <cx:pt idx="10541">458000</cx:pt>
          <cx:pt idx="10542">458000</cx:pt>
          <cx:pt idx="10543">458000</cx:pt>
          <cx:pt idx="10544">458000</cx:pt>
          <cx:pt idx="10545">458000</cx:pt>
          <cx:pt idx="10546">458000</cx:pt>
          <cx:pt idx="10547">458000</cx:pt>
          <cx:pt idx="10548">458000</cx:pt>
          <cx:pt idx="10549">457500</cx:pt>
          <cx:pt idx="10550">457500</cx:pt>
          <cx:pt idx="10551">457500</cx:pt>
          <cx:pt idx="10552">457500</cx:pt>
          <cx:pt idx="10553">457500</cx:pt>
          <cx:pt idx="10554">457500</cx:pt>
          <cx:pt idx="10555">457000</cx:pt>
          <cx:pt idx="10556">457000</cx:pt>
          <cx:pt idx="10557">457000</cx:pt>
          <cx:pt idx="10558">457000</cx:pt>
          <cx:pt idx="10559">457000</cx:pt>
          <cx:pt idx="10560">457000</cx:pt>
          <cx:pt idx="10561">457000</cx:pt>
          <cx:pt idx="10562">457000</cx:pt>
          <cx:pt idx="10563">457000</cx:pt>
          <cx:pt idx="10564">457000</cx:pt>
          <cx:pt idx="10565">457000</cx:pt>
          <cx:pt idx="10566">456700</cx:pt>
          <cx:pt idx="10567">456500</cx:pt>
          <cx:pt idx="10568">456500</cx:pt>
          <cx:pt idx="10569">456500</cx:pt>
          <cx:pt idx="10570">456500</cx:pt>
          <cx:pt idx="10571">456500</cx:pt>
          <cx:pt idx="10572">456200</cx:pt>
          <cx:pt idx="10573">456150</cx:pt>
          <cx:pt idx="10574">456000</cx:pt>
          <cx:pt idx="10575">456000</cx:pt>
          <cx:pt idx="10576">456000</cx:pt>
          <cx:pt idx="10577">456000</cx:pt>
          <cx:pt idx="10578">456000</cx:pt>
          <cx:pt idx="10579">456000</cx:pt>
          <cx:pt idx="10580">456000</cx:pt>
          <cx:pt idx="10581">456000</cx:pt>
          <cx:pt idx="10582">455950</cx:pt>
          <cx:pt idx="10583">455850</cx:pt>
          <cx:pt idx="10584">455800</cx:pt>
          <cx:pt idx="10585">455600</cx:pt>
          <cx:pt idx="10586">455500</cx:pt>
          <cx:pt idx="10587">455500</cx:pt>
          <cx:pt idx="10588">455000</cx:pt>
          <cx:pt idx="10589">455000</cx:pt>
          <cx:pt idx="10590">455000</cx:pt>
          <cx:pt idx="10591">455000</cx:pt>
          <cx:pt idx="10592">455000</cx:pt>
          <cx:pt idx="10593">455000</cx:pt>
          <cx:pt idx="10594">455000</cx:pt>
          <cx:pt idx="10595">455000</cx:pt>
          <cx:pt idx="10596">455000</cx:pt>
          <cx:pt idx="10597">455000</cx:pt>
          <cx:pt idx="10598">455000</cx:pt>
          <cx:pt idx="10599">455000</cx:pt>
          <cx:pt idx="10600">455000</cx:pt>
          <cx:pt idx="10601">455000</cx:pt>
          <cx:pt idx="10602">455000</cx:pt>
          <cx:pt idx="10603">455000</cx:pt>
          <cx:pt idx="10604">455000</cx:pt>
          <cx:pt idx="10605">455000</cx:pt>
          <cx:pt idx="10606">455000</cx:pt>
          <cx:pt idx="10607">455000</cx:pt>
          <cx:pt idx="10608">455000</cx:pt>
          <cx:pt idx="10609">455000</cx:pt>
          <cx:pt idx="10610">455000</cx:pt>
          <cx:pt idx="10611">455000</cx:pt>
          <cx:pt idx="10612">455000</cx:pt>
          <cx:pt idx="10613">455000</cx:pt>
          <cx:pt idx="10614">455000</cx:pt>
          <cx:pt idx="10615">455000</cx:pt>
          <cx:pt idx="10616">455000</cx:pt>
          <cx:pt idx="10617">455000</cx:pt>
          <cx:pt idx="10618">455000</cx:pt>
          <cx:pt idx="10619">455000</cx:pt>
          <cx:pt idx="10620">455000</cx:pt>
          <cx:pt idx="10621">455000</cx:pt>
          <cx:pt idx="10622">455000</cx:pt>
          <cx:pt idx="10623">455000</cx:pt>
          <cx:pt idx="10624">455000</cx:pt>
          <cx:pt idx="10625">455000</cx:pt>
          <cx:pt idx="10626">455000</cx:pt>
          <cx:pt idx="10627">455000</cx:pt>
          <cx:pt idx="10628">455000</cx:pt>
          <cx:pt idx="10629">455000</cx:pt>
          <cx:pt idx="10630">455000</cx:pt>
          <cx:pt idx="10631">455000</cx:pt>
          <cx:pt idx="10632">455000</cx:pt>
          <cx:pt idx="10633">455000</cx:pt>
          <cx:pt idx="10634">455000</cx:pt>
          <cx:pt idx="10635">455000</cx:pt>
          <cx:pt idx="10636">455000</cx:pt>
          <cx:pt idx="10637">455000</cx:pt>
          <cx:pt idx="10638">455000</cx:pt>
          <cx:pt idx="10639">455000</cx:pt>
          <cx:pt idx="10640">455000</cx:pt>
          <cx:pt idx="10641">455000</cx:pt>
          <cx:pt idx="10642">455000</cx:pt>
          <cx:pt idx="10643">455000</cx:pt>
          <cx:pt idx="10644">455000</cx:pt>
          <cx:pt idx="10645">455000</cx:pt>
          <cx:pt idx="10646">455000</cx:pt>
          <cx:pt idx="10647">455000</cx:pt>
          <cx:pt idx="10648">455000</cx:pt>
          <cx:pt idx="10649">455000</cx:pt>
          <cx:pt idx="10650">455000</cx:pt>
          <cx:pt idx="10651">455000</cx:pt>
          <cx:pt idx="10652">455000</cx:pt>
          <cx:pt idx="10653">455000</cx:pt>
          <cx:pt idx="10654">455000</cx:pt>
          <cx:pt idx="10655">455000</cx:pt>
          <cx:pt idx="10656">455000</cx:pt>
          <cx:pt idx="10657">455000</cx:pt>
          <cx:pt idx="10658">455000</cx:pt>
          <cx:pt idx="10659">455000</cx:pt>
          <cx:pt idx="10660">455000</cx:pt>
          <cx:pt idx="10661">454950</cx:pt>
          <cx:pt idx="10662">454900</cx:pt>
          <cx:pt idx="10663">454800</cx:pt>
          <cx:pt idx="10664">454450</cx:pt>
          <cx:pt idx="10665">454280</cx:pt>
          <cx:pt idx="10666">454200</cx:pt>
          <cx:pt idx="10667">454000</cx:pt>
          <cx:pt idx="10668">454000</cx:pt>
          <cx:pt idx="10669">454000</cx:pt>
          <cx:pt idx="10670">454000</cx:pt>
          <cx:pt idx="10671">454000</cx:pt>
          <cx:pt idx="10672">454000</cx:pt>
          <cx:pt idx="10673">454000</cx:pt>
          <cx:pt idx="10674">454000</cx:pt>
          <cx:pt idx="10675">453500</cx:pt>
          <cx:pt idx="10676">453500</cx:pt>
          <cx:pt idx="10677">453500</cx:pt>
          <cx:pt idx="10678">453500</cx:pt>
          <cx:pt idx="10679">453500</cx:pt>
          <cx:pt idx="10680">453250</cx:pt>
          <cx:pt idx="10681">453246</cx:pt>
          <cx:pt idx="10682">453000</cx:pt>
          <cx:pt idx="10683">453000</cx:pt>
          <cx:pt idx="10684">453000</cx:pt>
          <cx:pt idx="10685">453000</cx:pt>
          <cx:pt idx="10686">453000</cx:pt>
          <cx:pt idx="10687">453000</cx:pt>
          <cx:pt idx="10688">453000</cx:pt>
          <cx:pt idx="10689">453000</cx:pt>
          <cx:pt idx="10690">453000</cx:pt>
          <cx:pt idx="10691">453000</cx:pt>
          <cx:pt idx="10692">453000</cx:pt>
          <cx:pt idx="10693">453000</cx:pt>
          <cx:pt idx="10694">453000</cx:pt>
          <cx:pt idx="10695">453000</cx:pt>
          <cx:pt idx="10696">453000</cx:pt>
          <cx:pt idx="10697">453000</cx:pt>
          <cx:pt idx="10698">453000</cx:pt>
          <cx:pt idx="10699">453000</cx:pt>
          <cx:pt idx="10700">452950</cx:pt>
          <cx:pt idx="10701">452500</cx:pt>
          <cx:pt idx="10702">452500</cx:pt>
          <cx:pt idx="10703">452500</cx:pt>
          <cx:pt idx="10704">452500</cx:pt>
          <cx:pt idx="10705">452250</cx:pt>
          <cx:pt idx="10706">452100</cx:pt>
          <cx:pt idx="10707">452000</cx:pt>
          <cx:pt idx="10708">452000</cx:pt>
          <cx:pt idx="10709">452000</cx:pt>
          <cx:pt idx="10710">452000</cx:pt>
          <cx:pt idx="10711">452000</cx:pt>
          <cx:pt idx="10712">452000</cx:pt>
          <cx:pt idx="10713">452000</cx:pt>
          <cx:pt idx="10714">452000</cx:pt>
          <cx:pt idx="10715">452000</cx:pt>
          <cx:pt idx="10716">452000</cx:pt>
          <cx:pt idx="10717">452000</cx:pt>
          <cx:pt idx="10718">452000</cx:pt>
          <cx:pt idx="10719">452000</cx:pt>
          <cx:pt idx="10720">452000</cx:pt>
          <cx:pt idx="10721">452000</cx:pt>
          <cx:pt idx="10722">452000</cx:pt>
          <cx:pt idx="10723">452000</cx:pt>
          <cx:pt idx="10724">452000</cx:pt>
          <cx:pt idx="10725">452000</cx:pt>
          <cx:pt idx="10726">452000</cx:pt>
          <cx:pt idx="10727">452000</cx:pt>
          <cx:pt idx="10728">452000</cx:pt>
          <cx:pt idx="10729">452000</cx:pt>
          <cx:pt idx="10730">452000</cx:pt>
          <cx:pt idx="10731">451555</cx:pt>
          <cx:pt idx="10732">451300</cx:pt>
          <cx:pt idx="10733">451101</cx:pt>
          <cx:pt idx="10734">451000</cx:pt>
          <cx:pt idx="10735">451000</cx:pt>
          <cx:pt idx="10736">451000</cx:pt>
          <cx:pt idx="10737">451000</cx:pt>
          <cx:pt idx="10738">451000</cx:pt>
          <cx:pt idx="10739">451000</cx:pt>
          <cx:pt idx="10740">451000</cx:pt>
          <cx:pt idx="10741">451000</cx:pt>
          <cx:pt idx="10742">451000</cx:pt>
          <cx:pt idx="10743">451000</cx:pt>
          <cx:pt idx="10744">451000</cx:pt>
          <cx:pt idx="10745">450800</cx:pt>
          <cx:pt idx="10746">450600</cx:pt>
          <cx:pt idx="10747">450500</cx:pt>
          <cx:pt idx="10748">450500</cx:pt>
          <cx:pt idx="10749">450000</cx:pt>
          <cx:pt idx="10750">450000</cx:pt>
          <cx:pt idx="10751">450000</cx:pt>
          <cx:pt idx="10752">450000</cx:pt>
          <cx:pt idx="10753">450000</cx:pt>
          <cx:pt idx="10754">450000</cx:pt>
          <cx:pt idx="10755">450000</cx:pt>
          <cx:pt idx="10756">450000</cx:pt>
          <cx:pt idx="10757">450000</cx:pt>
          <cx:pt idx="10758">450000</cx:pt>
          <cx:pt idx="10759">450000</cx:pt>
          <cx:pt idx="10760">450000</cx:pt>
          <cx:pt idx="10761">450000</cx:pt>
          <cx:pt idx="10762">450000</cx:pt>
          <cx:pt idx="10763">450000</cx:pt>
          <cx:pt idx="10764">450000</cx:pt>
          <cx:pt idx="10765">450000</cx:pt>
          <cx:pt idx="10766">450000</cx:pt>
          <cx:pt idx="10767">450000</cx:pt>
          <cx:pt idx="10768">450000</cx:pt>
          <cx:pt idx="10769">450000</cx:pt>
          <cx:pt idx="10770">450000</cx:pt>
          <cx:pt idx="10771">450000</cx:pt>
          <cx:pt idx="10772">450000</cx:pt>
          <cx:pt idx="10773">450000</cx:pt>
          <cx:pt idx="10774">450000</cx:pt>
          <cx:pt idx="10775">450000</cx:pt>
          <cx:pt idx="10776">450000</cx:pt>
          <cx:pt idx="10777">450000</cx:pt>
          <cx:pt idx="10778">450000</cx:pt>
          <cx:pt idx="10779">450000</cx:pt>
          <cx:pt idx="10780">450000</cx:pt>
          <cx:pt idx="10781">450000</cx:pt>
          <cx:pt idx="10782">450000</cx:pt>
          <cx:pt idx="10783">450000</cx:pt>
          <cx:pt idx="10784">450000</cx:pt>
          <cx:pt idx="10785">450000</cx:pt>
          <cx:pt idx="10786">450000</cx:pt>
          <cx:pt idx="10787">450000</cx:pt>
          <cx:pt idx="10788">450000</cx:pt>
          <cx:pt idx="10789">450000</cx:pt>
          <cx:pt idx="10790">450000</cx:pt>
          <cx:pt idx="10791">450000</cx:pt>
          <cx:pt idx="10792">450000</cx:pt>
          <cx:pt idx="10793">450000</cx:pt>
          <cx:pt idx="10794">450000</cx:pt>
          <cx:pt idx="10795">450000</cx:pt>
          <cx:pt idx="10796">450000</cx:pt>
          <cx:pt idx="10797">450000</cx:pt>
          <cx:pt idx="10798">450000</cx:pt>
          <cx:pt idx="10799">450000</cx:pt>
          <cx:pt idx="10800">450000</cx:pt>
          <cx:pt idx="10801">450000</cx:pt>
          <cx:pt idx="10802">450000</cx:pt>
          <cx:pt idx="10803">450000</cx:pt>
          <cx:pt idx="10804">450000</cx:pt>
          <cx:pt idx="10805">450000</cx:pt>
          <cx:pt idx="10806">450000</cx:pt>
          <cx:pt idx="10807">450000</cx:pt>
          <cx:pt idx="10808">450000</cx:pt>
          <cx:pt idx="10809">450000</cx:pt>
          <cx:pt idx="10810">450000</cx:pt>
          <cx:pt idx="10811">450000</cx:pt>
          <cx:pt idx="10812">450000</cx:pt>
          <cx:pt idx="10813">450000</cx:pt>
          <cx:pt idx="10814">450000</cx:pt>
          <cx:pt idx="10815">450000</cx:pt>
          <cx:pt idx="10816">450000</cx:pt>
          <cx:pt idx="10817">450000</cx:pt>
          <cx:pt idx="10818">450000</cx:pt>
          <cx:pt idx="10819">450000</cx:pt>
          <cx:pt idx="10820">450000</cx:pt>
          <cx:pt idx="10821">450000</cx:pt>
          <cx:pt idx="10822">450000</cx:pt>
          <cx:pt idx="10823">450000</cx:pt>
          <cx:pt idx="10824">450000</cx:pt>
          <cx:pt idx="10825">450000</cx:pt>
          <cx:pt idx="10826">450000</cx:pt>
          <cx:pt idx="10827">450000</cx:pt>
          <cx:pt idx="10828">450000</cx:pt>
          <cx:pt idx="10829">450000</cx:pt>
          <cx:pt idx="10830">450000</cx:pt>
          <cx:pt idx="10831">450000</cx:pt>
          <cx:pt idx="10832">450000</cx:pt>
          <cx:pt idx="10833">450000</cx:pt>
          <cx:pt idx="10834">450000</cx:pt>
          <cx:pt idx="10835">450000</cx:pt>
          <cx:pt idx="10836">450000</cx:pt>
          <cx:pt idx="10837">450000</cx:pt>
          <cx:pt idx="10838">450000</cx:pt>
          <cx:pt idx="10839">450000</cx:pt>
          <cx:pt idx="10840">450000</cx:pt>
          <cx:pt idx="10841">450000</cx:pt>
          <cx:pt idx="10842">450000</cx:pt>
          <cx:pt idx="10843">450000</cx:pt>
          <cx:pt idx="10844">450000</cx:pt>
          <cx:pt idx="10845">450000</cx:pt>
          <cx:pt idx="10846">450000</cx:pt>
          <cx:pt idx="10847">450000</cx:pt>
          <cx:pt idx="10848">450000</cx:pt>
          <cx:pt idx="10849">450000</cx:pt>
          <cx:pt idx="10850">450000</cx:pt>
          <cx:pt idx="10851">450000</cx:pt>
          <cx:pt idx="10852">450000</cx:pt>
          <cx:pt idx="10853">450000</cx:pt>
          <cx:pt idx="10854">450000</cx:pt>
          <cx:pt idx="10855">450000</cx:pt>
          <cx:pt idx="10856">450000</cx:pt>
          <cx:pt idx="10857">450000</cx:pt>
          <cx:pt idx="10858">450000</cx:pt>
          <cx:pt idx="10859">450000</cx:pt>
          <cx:pt idx="10860">450000</cx:pt>
          <cx:pt idx="10861">450000</cx:pt>
          <cx:pt idx="10862">450000</cx:pt>
          <cx:pt idx="10863">450000</cx:pt>
          <cx:pt idx="10864">450000</cx:pt>
          <cx:pt idx="10865">450000</cx:pt>
          <cx:pt idx="10866">450000</cx:pt>
          <cx:pt idx="10867">450000</cx:pt>
          <cx:pt idx="10868">450000</cx:pt>
          <cx:pt idx="10869">450000</cx:pt>
          <cx:pt idx="10870">450000</cx:pt>
          <cx:pt idx="10871">450000</cx:pt>
          <cx:pt idx="10872">450000</cx:pt>
          <cx:pt idx="10873">450000</cx:pt>
          <cx:pt idx="10874">450000</cx:pt>
          <cx:pt idx="10875">450000</cx:pt>
          <cx:pt idx="10876">450000</cx:pt>
          <cx:pt idx="10877">450000</cx:pt>
          <cx:pt idx="10878">450000</cx:pt>
          <cx:pt idx="10879">450000</cx:pt>
          <cx:pt idx="10880">450000</cx:pt>
          <cx:pt idx="10881">450000</cx:pt>
          <cx:pt idx="10882">450000</cx:pt>
          <cx:pt idx="10883">450000</cx:pt>
          <cx:pt idx="10884">450000</cx:pt>
          <cx:pt idx="10885">450000</cx:pt>
          <cx:pt idx="10886">450000</cx:pt>
          <cx:pt idx="10887">450000</cx:pt>
          <cx:pt idx="10888">450000</cx:pt>
          <cx:pt idx="10889">450000</cx:pt>
          <cx:pt idx="10890">450000</cx:pt>
          <cx:pt idx="10891">450000</cx:pt>
          <cx:pt idx="10892">450000</cx:pt>
          <cx:pt idx="10893">450000</cx:pt>
          <cx:pt idx="10894">450000</cx:pt>
          <cx:pt idx="10895">450000</cx:pt>
          <cx:pt idx="10896">450000</cx:pt>
          <cx:pt idx="10897">450000</cx:pt>
          <cx:pt idx="10898">450000</cx:pt>
          <cx:pt idx="10899">450000</cx:pt>
          <cx:pt idx="10900">450000</cx:pt>
          <cx:pt idx="10901">450000</cx:pt>
          <cx:pt idx="10902">450000</cx:pt>
          <cx:pt idx="10903">450000</cx:pt>
          <cx:pt idx="10904">450000</cx:pt>
          <cx:pt idx="10905">450000</cx:pt>
          <cx:pt idx="10906">450000</cx:pt>
          <cx:pt idx="10907">450000</cx:pt>
          <cx:pt idx="10908">450000</cx:pt>
          <cx:pt idx="10909">450000</cx:pt>
          <cx:pt idx="10910">450000</cx:pt>
          <cx:pt idx="10911">450000</cx:pt>
          <cx:pt idx="10912">450000</cx:pt>
          <cx:pt idx="10913">450000</cx:pt>
          <cx:pt idx="10914">450000</cx:pt>
          <cx:pt idx="10915">450000</cx:pt>
          <cx:pt idx="10916">450000</cx:pt>
          <cx:pt idx="10917">450000</cx:pt>
          <cx:pt idx="10918">450000</cx:pt>
          <cx:pt idx="10919">450000</cx:pt>
          <cx:pt idx="10920">450000</cx:pt>
          <cx:pt idx="10921">449999</cx:pt>
          <cx:pt idx="10922">449999</cx:pt>
          <cx:pt idx="10923">449990</cx:pt>
          <cx:pt idx="10924">449950</cx:pt>
          <cx:pt idx="10925">449950</cx:pt>
          <cx:pt idx="10926">449950</cx:pt>
          <cx:pt idx="10927">449950</cx:pt>
          <cx:pt idx="10928">449950</cx:pt>
          <cx:pt idx="10929">449950</cx:pt>
          <cx:pt idx="10930">449950</cx:pt>
          <cx:pt idx="10931">449950</cx:pt>
          <cx:pt idx="10932">449950</cx:pt>
          <cx:pt idx="10933">449950</cx:pt>
          <cx:pt idx="10934">449950</cx:pt>
          <cx:pt idx="10935">449950</cx:pt>
          <cx:pt idx="10936">449950</cx:pt>
          <cx:pt idx="10937">449950</cx:pt>
          <cx:pt idx="10938">449950</cx:pt>
          <cx:pt idx="10939">449950</cx:pt>
          <cx:pt idx="10940">449950</cx:pt>
          <cx:pt idx="10941">449900</cx:pt>
          <cx:pt idx="10942">449900</cx:pt>
          <cx:pt idx="10943">449888</cx:pt>
          <cx:pt idx="10944">449500</cx:pt>
          <cx:pt idx="10945">449500</cx:pt>
          <cx:pt idx="10946">449500</cx:pt>
          <cx:pt idx="10947">449500</cx:pt>
          <cx:pt idx="10948">449500</cx:pt>
          <cx:pt idx="10949">449500</cx:pt>
          <cx:pt idx="10950">449500</cx:pt>
          <cx:pt idx="10951">449500</cx:pt>
          <cx:pt idx="10952">449400</cx:pt>
          <cx:pt idx="10953">449250</cx:pt>
          <cx:pt idx="10954">449228</cx:pt>
          <cx:pt idx="10955">449000</cx:pt>
          <cx:pt idx="10956">449000</cx:pt>
          <cx:pt idx="10957">449000</cx:pt>
          <cx:pt idx="10958">449000</cx:pt>
          <cx:pt idx="10959">449000</cx:pt>
          <cx:pt idx="10960">449000</cx:pt>
          <cx:pt idx="10961">449000</cx:pt>
          <cx:pt idx="10962">449000</cx:pt>
          <cx:pt idx="10963">449000</cx:pt>
          <cx:pt idx="10964">449000</cx:pt>
          <cx:pt idx="10965">449000</cx:pt>
          <cx:pt idx="10966">449000</cx:pt>
          <cx:pt idx="10967">449000</cx:pt>
          <cx:pt idx="10968">449000</cx:pt>
          <cx:pt idx="10969">449000</cx:pt>
          <cx:pt idx="10970">449000</cx:pt>
          <cx:pt idx="10971">449000</cx:pt>
          <cx:pt idx="10972">449000</cx:pt>
          <cx:pt idx="10973">448500</cx:pt>
          <cx:pt idx="10974">448500</cx:pt>
          <cx:pt idx="10975">448500</cx:pt>
          <cx:pt idx="10976">448175</cx:pt>
          <cx:pt idx="10977">448000</cx:pt>
          <cx:pt idx="10978">448000</cx:pt>
          <cx:pt idx="10979">448000</cx:pt>
          <cx:pt idx="10980">448000</cx:pt>
          <cx:pt idx="10981">448000</cx:pt>
          <cx:pt idx="10982">448000</cx:pt>
          <cx:pt idx="10983">448000</cx:pt>
          <cx:pt idx="10984">448000</cx:pt>
          <cx:pt idx="10985">448000</cx:pt>
          <cx:pt idx="10986">447500</cx:pt>
          <cx:pt idx="10987">447500</cx:pt>
          <cx:pt idx="10988">447500</cx:pt>
          <cx:pt idx="10989">447500</cx:pt>
          <cx:pt idx="10990">447500</cx:pt>
          <cx:pt idx="10991">447500</cx:pt>
          <cx:pt idx="10992">447450</cx:pt>
          <cx:pt idx="10993">447055</cx:pt>
          <cx:pt idx="10994">447000</cx:pt>
          <cx:pt idx="10995">447000</cx:pt>
          <cx:pt idx="10996">447000</cx:pt>
          <cx:pt idx="10997">447000</cx:pt>
          <cx:pt idx="10998">447000</cx:pt>
          <cx:pt idx="10999">447000</cx:pt>
          <cx:pt idx="11000">447000</cx:pt>
          <cx:pt idx="11001">447000</cx:pt>
          <cx:pt idx="11002">447000</cx:pt>
          <cx:pt idx="11003">447000</cx:pt>
          <cx:pt idx="11004">447000</cx:pt>
          <cx:pt idx="11005">447000</cx:pt>
          <cx:pt idx="11006">447000</cx:pt>
          <cx:pt idx="11007">447000</cx:pt>
          <cx:pt idx="11008">447000</cx:pt>
          <cx:pt idx="11009">447000</cx:pt>
          <cx:pt idx="11010">446950</cx:pt>
          <cx:pt idx="11011">446800</cx:pt>
          <cx:pt idx="11012">446500</cx:pt>
          <cx:pt idx="11013">446500</cx:pt>
          <cx:pt idx="11014">446450</cx:pt>
          <cx:pt idx="11015">446250</cx:pt>
          <cx:pt idx="11016">446000</cx:pt>
          <cx:pt idx="11017">446000</cx:pt>
          <cx:pt idx="11018">446000</cx:pt>
          <cx:pt idx="11019">446000</cx:pt>
          <cx:pt idx="11020">446000</cx:pt>
          <cx:pt idx="11021">446000</cx:pt>
          <cx:pt idx="11022">446000</cx:pt>
          <cx:pt idx="11023">446000</cx:pt>
          <cx:pt idx="11024">446000</cx:pt>
          <cx:pt idx="11025">445950</cx:pt>
          <cx:pt idx="11026">445838</cx:pt>
          <cx:pt idx="11027">445830</cx:pt>
          <cx:pt idx="11028">445800</cx:pt>
          <cx:pt idx="11029">445800</cx:pt>
          <cx:pt idx="11030">445700</cx:pt>
          <cx:pt idx="11031">445500</cx:pt>
          <cx:pt idx="11032">445500</cx:pt>
          <cx:pt idx="11033">445500</cx:pt>
          <cx:pt idx="11034">445434</cx:pt>
          <cx:pt idx="11035">445000</cx:pt>
          <cx:pt idx="11036">445000</cx:pt>
          <cx:pt idx="11037">445000</cx:pt>
          <cx:pt idx="11038">445000</cx:pt>
          <cx:pt idx="11039">445000</cx:pt>
          <cx:pt idx="11040">445000</cx:pt>
          <cx:pt idx="11041">445000</cx:pt>
          <cx:pt idx="11042">445000</cx:pt>
          <cx:pt idx="11043">445000</cx:pt>
          <cx:pt idx="11044">445000</cx:pt>
          <cx:pt idx="11045">445000</cx:pt>
          <cx:pt idx="11046">445000</cx:pt>
          <cx:pt idx="11047">445000</cx:pt>
          <cx:pt idx="11048">445000</cx:pt>
          <cx:pt idx="11049">445000</cx:pt>
          <cx:pt idx="11050">445000</cx:pt>
          <cx:pt idx="11051">445000</cx:pt>
          <cx:pt idx="11052">445000</cx:pt>
          <cx:pt idx="11053">445000</cx:pt>
          <cx:pt idx="11054">445000</cx:pt>
          <cx:pt idx="11055">445000</cx:pt>
          <cx:pt idx="11056">445000</cx:pt>
          <cx:pt idx="11057">445000</cx:pt>
          <cx:pt idx="11058">445000</cx:pt>
          <cx:pt idx="11059">445000</cx:pt>
          <cx:pt idx="11060">445000</cx:pt>
          <cx:pt idx="11061">445000</cx:pt>
          <cx:pt idx="11062">445000</cx:pt>
          <cx:pt idx="11063">445000</cx:pt>
          <cx:pt idx="11064">445000</cx:pt>
          <cx:pt idx="11065">445000</cx:pt>
          <cx:pt idx="11066">445000</cx:pt>
          <cx:pt idx="11067">445000</cx:pt>
          <cx:pt idx="11068">445000</cx:pt>
          <cx:pt idx="11069">445000</cx:pt>
          <cx:pt idx="11070">445000</cx:pt>
          <cx:pt idx="11071">445000</cx:pt>
          <cx:pt idx="11072">445000</cx:pt>
          <cx:pt idx="11073">445000</cx:pt>
          <cx:pt idx="11074">445000</cx:pt>
          <cx:pt idx="11075">445000</cx:pt>
          <cx:pt idx="11076">445000</cx:pt>
          <cx:pt idx="11077">445000</cx:pt>
          <cx:pt idx="11078">445000</cx:pt>
          <cx:pt idx="11079">445000</cx:pt>
          <cx:pt idx="11080">445000</cx:pt>
          <cx:pt idx="11081">445000</cx:pt>
          <cx:pt idx="11082">445000</cx:pt>
          <cx:pt idx="11083">445000</cx:pt>
          <cx:pt idx="11084">445000</cx:pt>
          <cx:pt idx="11085">445000</cx:pt>
          <cx:pt idx="11086">445000</cx:pt>
          <cx:pt idx="11087">445000</cx:pt>
          <cx:pt idx="11088">445000</cx:pt>
          <cx:pt idx="11089">445000</cx:pt>
          <cx:pt idx="11090">445000</cx:pt>
          <cx:pt idx="11091">445000</cx:pt>
          <cx:pt idx="11092">445000</cx:pt>
          <cx:pt idx="11093">445000</cx:pt>
          <cx:pt idx="11094">445000</cx:pt>
          <cx:pt idx="11095">445000</cx:pt>
          <cx:pt idx="11096">445000</cx:pt>
          <cx:pt idx="11097">445000</cx:pt>
          <cx:pt idx="11098">445000</cx:pt>
          <cx:pt idx="11099">445000</cx:pt>
          <cx:pt idx="11100">445000</cx:pt>
          <cx:pt idx="11101">445000</cx:pt>
          <cx:pt idx="11102">445000</cx:pt>
          <cx:pt idx="11103">445000</cx:pt>
          <cx:pt idx="11104">445000</cx:pt>
          <cx:pt idx="11105">445000</cx:pt>
          <cx:pt idx="11106">445000</cx:pt>
          <cx:pt idx="11107">445000</cx:pt>
          <cx:pt idx="11108">445000</cx:pt>
          <cx:pt idx="11109">445000</cx:pt>
          <cx:pt idx="11110">444950</cx:pt>
          <cx:pt idx="11111">444950</cx:pt>
          <cx:pt idx="11112">444900</cx:pt>
          <cx:pt idx="11113">444500</cx:pt>
          <cx:pt idx="11114">444000</cx:pt>
          <cx:pt idx="11115">444000</cx:pt>
          <cx:pt idx="11116">443950</cx:pt>
          <cx:pt idx="11117">443750</cx:pt>
          <cx:pt idx="11118">443725</cx:pt>
          <cx:pt idx="11119">443600</cx:pt>
          <cx:pt idx="11120">443500</cx:pt>
          <cx:pt idx="11121">443500</cx:pt>
          <cx:pt idx="11122">443500</cx:pt>
          <cx:pt idx="11123">443500</cx:pt>
          <cx:pt idx="11124">443500</cx:pt>
          <cx:pt idx="11125">443000</cx:pt>
          <cx:pt idx="11126">443000</cx:pt>
          <cx:pt idx="11127">443000</cx:pt>
          <cx:pt idx="11128">443000</cx:pt>
          <cx:pt idx="11129">443000</cx:pt>
          <cx:pt idx="11130">443000</cx:pt>
          <cx:pt idx="11131">443000</cx:pt>
          <cx:pt idx="11132">443000</cx:pt>
          <cx:pt idx="11133">443000</cx:pt>
          <cx:pt idx="11134">443000</cx:pt>
          <cx:pt idx="11135">443000</cx:pt>
          <cx:pt idx="11136">443000</cx:pt>
          <cx:pt idx="11137">442900</cx:pt>
          <cx:pt idx="11138">442573</cx:pt>
          <cx:pt idx="11139">442515</cx:pt>
          <cx:pt idx="11140">442500</cx:pt>
          <cx:pt idx="11141">442500</cx:pt>
          <cx:pt idx="11142">442500</cx:pt>
          <cx:pt idx="11143">442500</cx:pt>
          <cx:pt idx="11144">442500</cx:pt>
          <cx:pt idx="11145">442500</cx:pt>
          <cx:pt idx="11146">442500</cx:pt>
          <cx:pt idx="11147">442500</cx:pt>
          <cx:pt idx="11148">442500</cx:pt>
          <cx:pt idx="11149">442500</cx:pt>
          <cx:pt idx="11150">442500</cx:pt>
          <cx:pt idx="11151">442500</cx:pt>
          <cx:pt idx="11152">442500</cx:pt>
          <cx:pt idx="11153">442500</cx:pt>
          <cx:pt idx="11154">442500</cx:pt>
          <cx:pt idx="11155">442250</cx:pt>
          <cx:pt idx="11156">442200</cx:pt>
          <cx:pt idx="11157">442000</cx:pt>
          <cx:pt idx="11158">442000</cx:pt>
          <cx:pt idx="11159">442000</cx:pt>
          <cx:pt idx="11160">442000</cx:pt>
          <cx:pt idx="11161">442000</cx:pt>
          <cx:pt idx="11162">442000</cx:pt>
          <cx:pt idx="11163">442000</cx:pt>
          <cx:pt idx="11164">442000</cx:pt>
          <cx:pt idx="11165">442000</cx:pt>
          <cx:pt idx="11166">442000</cx:pt>
          <cx:pt idx="11167">442000</cx:pt>
          <cx:pt idx="11168">442000</cx:pt>
          <cx:pt idx="11169">441750</cx:pt>
          <cx:pt idx="11170">441500</cx:pt>
          <cx:pt idx="11171">441500</cx:pt>
          <cx:pt idx="11172">441500</cx:pt>
          <cx:pt idx="11173">441500</cx:pt>
          <cx:pt idx="11174">441000</cx:pt>
          <cx:pt idx="11175">441000</cx:pt>
          <cx:pt idx="11176">441000</cx:pt>
          <cx:pt idx="11177">441000</cx:pt>
          <cx:pt idx="11178">441000</cx:pt>
          <cx:pt idx="11179">441000</cx:pt>
          <cx:pt idx="11180">441000</cx:pt>
          <cx:pt idx="11181">441000</cx:pt>
          <cx:pt idx="11182">441000</cx:pt>
          <cx:pt idx="11183">441000</cx:pt>
          <cx:pt idx="11184">440500</cx:pt>
          <cx:pt idx="11185">440500</cx:pt>
          <cx:pt idx="11186">440250</cx:pt>
          <cx:pt idx="11187">440150</cx:pt>
          <cx:pt idx="11188">440000</cx:pt>
          <cx:pt idx="11189">440000</cx:pt>
          <cx:pt idx="11190">440000</cx:pt>
          <cx:pt idx="11191">440000</cx:pt>
          <cx:pt idx="11192">440000</cx:pt>
          <cx:pt idx="11193">440000</cx:pt>
          <cx:pt idx="11194">440000</cx:pt>
          <cx:pt idx="11195">440000</cx:pt>
          <cx:pt idx="11196">440000</cx:pt>
          <cx:pt idx="11197">440000</cx:pt>
          <cx:pt idx="11198">440000</cx:pt>
          <cx:pt idx="11199">440000</cx:pt>
          <cx:pt idx="11200">440000</cx:pt>
          <cx:pt idx="11201">440000</cx:pt>
          <cx:pt idx="11202">440000</cx:pt>
          <cx:pt idx="11203">440000</cx:pt>
          <cx:pt idx="11204">440000</cx:pt>
          <cx:pt idx="11205">440000</cx:pt>
          <cx:pt idx="11206">440000</cx:pt>
          <cx:pt idx="11207">440000</cx:pt>
          <cx:pt idx="11208">440000</cx:pt>
          <cx:pt idx="11209">440000</cx:pt>
          <cx:pt idx="11210">440000</cx:pt>
          <cx:pt idx="11211">440000</cx:pt>
          <cx:pt idx="11212">440000</cx:pt>
          <cx:pt idx="11213">440000</cx:pt>
          <cx:pt idx="11214">440000</cx:pt>
          <cx:pt idx="11215">440000</cx:pt>
          <cx:pt idx="11216">440000</cx:pt>
          <cx:pt idx="11217">440000</cx:pt>
          <cx:pt idx="11218">440000</cx:pt>
          <cx:pt idx="11219">440000</cx:pt>
          <cx:pt idx="11220">440000</cx:pt>
          <cx:pt idx="11221">440000</cx:pt>
          <cx:pt idx="11222">440000</cx:pt>
          <cx:pt idx="11223">440000</cx:pt>
          <cx:pt idx="11224">440000</cx:pt>
          <cx:pt idx="11225">440000</cx:pt>
          <cx:pt idx="11226">440000</cx:pt>
          <cx:pt idx="11227">440000</cx:pt>
          <cx:pt idx="11228">440000</cx:pt>
          <cx:pt idx="11229">440000</cx:pt>
          <cx:pt idx="11230">440000</cx:pt>
          <cx:pt idx="11231">440000</cx:pt>
          <cx:pt idx="11232">440000</cx:pt>
          <cx:pt idx="11233">440000</cx:pt>
          <cx:pt idx="11234">440000</cx:pt>
          <cx:pt idx="11235">440000</cx:pt>
          <cx:pt idx="11236">440000</cx:pt>
          <cx:pt idx="11237">440000</cx:pt>
          <cx:pt idx="11238">440000</cx:pt>
          <cx:pt idx="11239">440000</cx:pt>
          <cx:pt idx="11240">440000</cx:pt>
          <cx:pt idx="11241">440000</cx:pt>
          <cx:pt idx="11242">440000</cx:pt>
          <cx:pt idx="11243">440000</cx:pt>
          <cx:pt idx="11244">440000</cx:pt>
          <cx:pt idx="11245">440000</cx:pt>
          <cx:pt idx="11246">440000</cx:pt>
          <cx:pt idx="11247">440000</cx:pt>
          <cx:pt idx="11248">440000</cx:pt>
          <cx:pt idx="11249">440000</cx:pt>
          <cx:pt idx="11250">440000</cx:pt>
          <cx:pt idx="11251">440000</cx:pt>
          <cx:pt idx="11252">440000</cx:pt>
          <cx:pt idx="11253">440000</cx:pt>
          <cx:pt idx="11254">440000</cx:pt>
          <cx:pt idx="11255">440000</cx:pt>
          <cx:pt idx="11256">440000</cx:pt>
          <cx:pt idx="11257">440000</cx:pt>
          <cx:pt idx="11258">440000</cx:pt>
          <cx:pt idx="11259">440000</cx:pt>
          <cx:pt idx="11260">440000</cx:pt>
          <cx:pt idx="11261">440000</cx:pt>
          <cx:pt idx="11262">440000</cx:pt>
          <cx:pt idx="11263">440000</cx:pt>
          <cx:pt idx="11264">440000</cx:pt>
          <cx:pt idx="11265">440000</cx:pt>
          <cx:pt idx="11266">440000</cx:pt>
          <cx:pt idx="11267">440000</cx:pt>
          <cx:pt idx="11268">440000</cx:pt>
          <cx:pt idx="11269">440000</cx:pt>
          <cx:pt idx="11270">440000</cx:pt>
          <cx:pt idx="11271">440000</cx:pt>
          <cx:pt idx="11272">440000</cx:pt>
          <cx:pt idx="11273">440000</cx:pt>
          <cx:pt idx="11274">440000</cx:pt>
          <cx:pt idx="11275">440000</cx:pt>
          <cx:pt idx="11276">440000</cx:pt>
          <cx:pt idx="11277">440000</cx:pt>
          <cx:pt idx="11278">440000</cx:pt>
          <cx:pt idx="11279">440000</cx:pt>
          <cx:pt idx="11280">440000</cx:pt>
          <cx:pt idx="11281">440000</cx:pt>
          <cx:pt idx="11282">440000</cx:pt>
          <cx:pt idx="11283">440000</cx:pt>
          <cx:pt idx="11284">440000</cx:pt>
          <cx:pt idx="11285">440000</cx:pt>
          <cx:pt idx="11286">440000</cx:pt>
          <cx:pt idx="11287">440000</cx:pt>
          <cx:pt idx="11288">440000</cx:pt>
          <cx:pt idx="11289">440000</cx:pt>
          <cx:pt idx="11290">440000</cx:pt>
          <cx:pt idx="11291">440000</cx:pt>
          <cx:pt idx="11292">440000</cx:pt>
          <cx:pt idx="11293">440000</cx:pt>
          <cx:pt idx="11294">440000</cx:pt>
          <cx:pt idx="11295">440000</cx:pt>
          <cx:pt idx="11296">440000</cx:pt>
          <cx:pt idx="11297">439995</cx:pt>
          <cx:pt idx="11298">439990</cx:pt>
          <cx:pt idx="11299">439990</cx:pt>
          <cx:pt idx="11300">439990</cx:pt>
          <cx:pt idx="11301">439950</cx:pt>
          <cx:pt idx="11302">439950</cx:pt>
          <cx:pt idx="11303">439950</cx:pt>
          <cx:pt idx="11304">439950</cx:pt>
          <cx:pt idx="11305">439950</cx:pt>
          <cx:pt idx="11306">439950</cx:pt>
          <cx:pt idx="11307">439950</cx:pt>
          <cx:pt idx="11308">439950</cx:pt>
          <cx:pt idx="11309">439950</cx:pt>
          <cx:pt idx="11310">439950</cx:pt>
          <cx:pt idx="11311">439950</cx:pt>
          <cx:pt idx="11312">439900</cx:pt>
          <cx:pt idx="11313">439900</cx:pt>
          <cx:pt idx="11314">439888</cx:pt>
          <cx:pt idx="11315">439800</cx:pt>
          <cx:pt idx="11316">439500</cx:pt>
          <cx:pt idx="11317">439500</cx:pt>
          <cx:pt idx="11318">439500</cx:pt>
          <cx:pt idx="11319">439108</cx:pt>
          <cx:pt idx="11320">439000</cx:pt>
          <cx:pt idx="11321">439000</cx:pt>
          <cx:pt idx="11322">439000</cx:pt>
          <cx:pt idx="11323">439000</cx:pt>
          <cx:pt idx="11324">439000</cx:pt>
          <cx:pt idx="11325">439000</cx:pt>
          <cx:pt idx="11326">439000</cx:pt>
          <cx:pt idx="11327">439000</cx:pt>
          <cx:pt idx="11328">439000</cx:pt>
          <cx:pt idx="11329">439000</cx:pt>
          <cx:pt idx="11330">439000</cx:pt>
          <cx:pt idx="11331">439000</cx:pt>
          <cx:pt idx="11332">439000</cx:pt>
          <cx:pt idx="11333">439000</cx:pt>
          <cx:pt idx="11334">439000</cx:pt>
          <cx:pt idx="11335">439000</cx:pt>
          <cx:pt idx="11336">439000</cx:pt>
          <cx:pt idx="11337">439000</cx:pt>
          <cx:pt idx="11338">439000</cx:pt>
          <cx:pt idx="11339">439000</cx:pt>
          <cx:pt idx="11340">439000</cx:pt>
          <cx:pt idx="11341">439000</cx:pt>
          <cx:pt idx="11342">439000</cx:pt>
          <cx:pt idx="11343">439000</cx:pt>
          <cx:pt idx="11344">438950</cx:pt>
          <cx:pt idx="11345">438924</cx:pt>
          <cx:pt idx="11346">438900</cx:pt>
          <cx:pt idx="11347">438800</cx:pt>
          <cx:pt idx="11348">438750</cx:pt>
          <cx:pt idx="11349">438600</cx:pt>
          <cx:pt idx="11350">438500</cx:pt>
          <cx:pt idx="11351">438500</cx:pt>
          <cx:pt idx="11352">438400</cx:pt>
          <cx:pt idx="11353">438200</cx:pt>
          <cx:pt idx="11354">438000</cx:pt>
          <cx:pt idx="11355">438000</cx:pt>
          <cx:pt idx="11356">438000</cx:pt>
          <cx:pt idx="11357">438000</cx:pt>
          <cx:pt idx="11358">438000</cx:pt>
          <cx:pt idx="11359">438000</cx:pt>
          <cx:pt idx="11360">438000</cx:pt>
          <cx:pt idx="11361">438000</cx:pt>
          <cx:pt idx="11362">438000</cx:pt>
          <cx:pt idx="11363">438000</cx:pt>
          <cx:pt idx="11364">438000</cx:pt>
          <cx:pt idx="11365">438000</cx:pt>
          <cx:pt idx="11366">438000</cx:pt>
          <cx:pt idx="11367">438000</cx:pt>
          <cx:pt idx="11368">438000</cx:pt>
          <cx:pt idx="11369">438000</cx:pt>
          <cx:pt idx="11370">438000</cx:pt>
          <cx:pt idx="11371">437850</cx:pt>
          <cx:pt idx="11372">437718</cx:pt>
          <cx:pt idx="11373">437500</cx:pt>
          <cx:pt idx="11374">437500</cx:pt>
          <cx:pt idx="11375">437500</cx:pt>
          <cx:pt idx="11376">437500</cx:pt>
          <cx:pt idx="11377">437500</cx:pt>
          <cx:pt idx="11378">437500</cx:pt>
          <cx:pt idx="11379">437500</cx:pt>
          <cx:pt idx="11380">437500</cx:pt>
          <cx:pt idx="11381">437500</cx:pt>
          <cx:pt idx="11382">437500</cx:pt>
          <cx:pt idx="11383">437500</cx:pt>
          <cx:pt idx="11384">437500</cx:pt>
          <cx:pt idx="11385">437400</cx:pt>
          <cx:pt idx="11386">437000</cx:pt>
          <cx:pt idx="11387">437000</cx:pt>
          <cx:pt idx="11388">437000</cx:pt>
          <cx:pt idx="11389">437000</cx:pt>
          <cx:pt idx="11390">437000</cx:pt>
          <cx:pt idx="11391">437000</cx:pt>
          <cx:pt idx="11392">437000</cx:pt>
          <cx:pt idx="11393">437000</cx:pt>
          <cx:pt idx="11394">437000</cx:pt>
          <cx:pt idx="11395">437000</cx:pt>
          <cx:pt idx="11396">437000</cx:pt>
          <cx:pt idx="11397">437000</cx:pt>
          <cx:pt idx="11398">437000</cx:pt>
          <cx:pt idx="11399">437000</cx:pt>
          <cx:pt idx="11400">436952</cx:pt>
          <cx:pt idx="11401">436800</cx:pt>
          <cx:pt idx="11402">436500</cx:pt>
          <cx:pt idx="11403">436500</cx:pt>
          <cx:pt idx="11404">436500</cx:pt>
          <cx:pt idx="11405">436472</cx:pt>
          <cx:pt idx="11406">436300</cx:pt>
          <cx:pt idx="11407">436110</cx:pt>
          <cx:pt idx="11408">436000</cx:pt>
          <cx:pt idx="11409">436000</cx:pt>
          <cx:pt idx="11410">436000</cx:pt>
          <cx:pt idx="11411">436000</cx:pt>
          <cx:pt idx="11412">436000</cx:pt>
          <cx:pt idx="11413">436000</cx:pt>
          <cx:pt idx="11414">436000</cx:pt>
          <cx:pt idx="11415">436000</cx:pt>
          <cx:pt idx="11416">436000</cx:pt>
          <cx:pt idx="11417">436000</cx:pt>
          <cx:pt idx="11418">436000</cx:pt>
          <cx:pt idx="11419">436000</cx:pt>
          <cx:pt idx="11420">436000</cx:pt>
          <cx:pt idx="11421">436000</cx:pt>
          <cx:pt idx="11422">436000</cx:pt>
          <cx:pt idx="11423">436000</cx:pt>
          <cx:pt idx="11424">435500</cx:pt>
          <cx:pt idx="11425">435500</cx:pt>
          <cx:pt idx="11426">435010</cx:pt>
          <cx:pt idx="11427">435000</cx:pt>
          <cx:pt idx="11428">435000</cx:pt>
          <cx:pt idx="11429">435000</cx:pt>
          <cx:pt idx="11430">435000</cx:pt>
          <cx:pt idx="11431">435000</cx:pt>
          <cx:pt idx="11432">435000</cx:pt>
          <cx:pt idx="11433">435000</cx:pt>
          <cx:pt idx="11434">435000</cx:pt>
          <cx:pt idx="11435">435000</cx:pt>
          <cx:pt idx="11436">435000</cx:pt>
          <cx:pt idx="11437">435000</cx:pt>
          <cx:pt idx="11438">435000</cx:pt>
          <cx:pt idx="11439">435000</cx:pt>
          <cx:pt idx="11440">435000</cx:pt>
          <cx:pt idx="11441">435000</cx:pt>
          <cx:pt idx="11442">435000</cx:pt>
          <cx:pt idx="11443">435000</cx:pt>
          <cx:pt idx="11444">435000</cx:pt>
          <cx:pt idx="11445">435000</cx:pt>
          <cx:pt idx="11446">435000</cx:pt>
          <cx:pt idx="11447">435000</cx:pt>
          <cx:pt idx="11448">435000</cx:pt>
          <cx:pt idx="11449">435000</cx:pt>
          <cx:pt idx="11450">435000</cx:pt>
          <cx:pt idx="11451">435000</cx:pt>
          <cx:pt idx="11452">435000</cx:pt>
          <cx:pt idx="11453">435000</cx:pt>
          <cx:pt idx="11454">435000</cx:pt>
          <cx:pt idx="11455">435000</cx:pt>
          <cx:pt idx="11456">435000</cx:pt>
          <cx:pt idx="11457">435000</cx:pt>
          <cx:pt idx="11458">435000</cx:pt>
          <cx:pt idx="11459">435000</cx:pt>
          <cx:pt idx="11460">435000</cx:pt>
          <cx:pt idx="11461">435000</cx:pt>
          <cx:pt idx="11462">435000</cx:pt>
          <cx:pt idx="11463">435000</cx:pt>
          <cx:pt idx="11464">435000</cx:pt>
          <cx:pt idx="11465">435000</cx:pt>
          <cx:pt idx="11466">435000</cx:pt>
          <cx:pt idx="11467">435000</cx:pt>
          <cx:pt idx="11468">435000</cx:pt>
          <cx:pt idx="11469">435000</cx:pt>
          <cx:pt idx="11470">435000</cx:pt>
          <cx:pt idx="11471">435000</cx:pt>
          <cx:pt idx="11472">435000</cx:pt>
          <cx:pt idx="11473">435000</cx:pt>
          <cx:pt idx="11474">435000</cx:pt>
          <cx:pt idx="11475">435000</cx:pt>
          <cx:pt idx="11476">435000</cx:pt>
          <cx:pt idx="11477">435000</cx:pt>
          <cx:pt idx="11478">435000</cx:pt>
          <cx:pt idx="11479">435000</cx:pt>
          <cx:pt idx="11480">435000</cx:pt>
          <cx:pt idx="11481">435000</cx:pt>
          <cx:pt idx="11482">435000</cx:pt>
          <cx:pt idx="11483">435000</cx:pt>
          <cx:pt idx="11484">435000</cx:pt>
          <cx:pt idx="11485">435000</cx:pt>
          <cx:pt idx="11486">435000</cx:pt>
          <cx:pt idx="11487">435000</cx:pt>
          <cx:pt idx="11488">435000</cx:pt>
          <cx:pt idx="11489">435000</cx:pt>
          <cx:pt idx="11490">435000</cx:pt>
          <cx:pt idx="11491">435000</cx:pt>
          <cx:pt idx="11492">435000</cx:pt>
          <cx:pt idx="11493">435000</cx:pt>
          <cx:pt idx="11494">435000</cx:pt>
          <cx:pt idx="11495">435000</cx:pt>
          <cx:pt idx="11496">435000</cx:pt>
          <cx:pt idx="11497">435000</cx:pt>
          <cx:pt idx="11498">435000</cx:pt>
          <cx:pt idx="11499">435000</cx:pt>
          <cx:pt idx="11500">435000</cx:pt>
          <cx:pt idx="11501">435000</cx:pt>
          <cx:pt idx="11502">435000</cx:pt>
          <cx:pt idx="11503">435000</cx:pt>
          <cx:pt idx="11504">435000</cx:pt>
          <cx:pt idx="11505">435000</cx:pt>
          <cx:pt idx="11506">435000</cx:pt>
          <cx:pt idx="11507">435000</cx:pt>
          <cx:pt idx="11508">435000</cx:pt>
          <cx:pt idx="11509">435000</cx:pt>
          <cx:pt idx="11510">435000</cx:pt>
          <cx:pt idx="11511">435000</cx:pt>
          <cx:pt idx="11512">435000</cx:pt>
          <cx:pt idx="11513">435000</cx:pt>
          <cx:pt idx="11514">435000</cx:pt>
          <cx:pt idx="11515">435000</cx:pt>
          <cx:pt idx="11516">435000</cx:pt>
          <cx:pt idx="11517">435000</cx:pt>
          <cx:pt idx="11518">435000</cx:pt>
          <cx:pt idx="11519">435000</cx:pt>
          <cx:pt idx="11520">435000</cx:pt>
          <cx:pt idx="11521">435000</cx:pt>
          <cx:pt idx="11522">435000</cx:pt>
          <cx:pt idx="11523">435000</cx:pt>
          <cx:pt idx="11524">435000</cx:pt>
          <cx:pt idx="11525">435000</cx:pt>
          <cx:pt idx="11526">435000</cx:pt>
          <cx:pt idx="11527">435000</cx:pt>
          <cx:pt idx="11528">435000</cx:pt>
          <cx:pt idx="11529">435000</cx:pt>
          <cx:pt idx="11530">435000</cx:pt>
          <cx:pt idx="11531">435000</cx:pt>
          <cx:pt idx="11532">434975</cx:pt>
          <cx:pt idx="11533">434900</cx:pt>
          <cx:pt idx="11534">434900</cx:pt>
          <cx:pt idx="11535">434500</cx:pt>
          <cx:pt idx="11536">434500</cx:pt>
          <cx:pt idx="11537">434400</cx:pt>
          <cx:pt idx="11538">434000</cx:pt>
          <cx:pt idx="11539">434000</cx:pt>
          <cx:pt idx="11540">434000</cx:pt>
          <cx:pt idx="11541">434000</cx:pt>
          <cx:pt idx="11542">433500</cx:pt>
          <cx:pt idx="11543">433500</cx:pt>
          <cx:pt idx="11544">433500</cx:pt>
          <cx:pt idx="11545">433495</cx:pt>
          <cx:pt idx="11546">433200</cx:pt>
          <cx:pt idx="11547">433190</cx:pt>
          <cx:pt idx="11548">433000</cx:pt>
          <cx:pt idx="11549">433000</cx:pt>
          <cx:pt idx="11550">433000</cx:pt>
          <cx:pt idx="11551">433000</cx:pt>
          <cx:pt idx="11552">433000</cx:pt>
          <cx:pt idx="11553">433000</cx:pt>
          <cx:pt idx="11554">433000</cx:pt>
          <cx:pt idx="11555">433000</cx:pt>
          <cx:pt idx="11556">433000</cx:pt>
          <cx:pt idx="11557">433000</cx:pt>
          <cx:pt idx="11558">432900</cx:pt>
          <cx:pt idx="11559">432500</cx:pt>
          <cx:pt idx="11560">432500</cx:pt>
          <cx:pt idx="11561">432500</cx:pt>
          <cx:pt idx="11562">432500</cx:pt>
          <cx:pt idx="11563">432500</cx:pt>
          <cx:pt idx="11564">432500</cx:pt>
          <cx:pt idx="11565">432500</cx:pt>
          <cx:pt idx="11566">432500</cx:pt>
          <cx:pt idx="11567">432500</cx:pt>
          <cx:pt idx="11568">432500</cx:pt>
          <cx:pt idx="11569">432500</cx:pt>
          <cx:pt idx="11570">432500</cx:pt>
          <cx:pt idx="11571">432250</cx:pt>
          <cx:pt idx="11572">432100</cx:pt>
          <cx:pt idx="11573">432100</cx:pt>
          <cx:pt idx="11574">432000</cx:pt>
          <cx:pt idx="11575">432000</cx:pt>
          <cx:pt idx="11576">432000</cx:pt>
          <cx:pt idx="11577">432000</cx:pt>
          <cx:pt idx="11578">432000</cx:pt>
          <cx:pt idx="11579">432000</cx:pt>
          <cx:pt idx="11580">432000</cx:pt>
          <cx:pt idx="11581">432000</cx:pt>
          <cx:pt idx="11582">432000</cx:pt>
          <cx:pt idx="11583">432000</cx:pt>
          <cx:pt idx="11584">432000</cx:pt>
          <cx:pt idx="11585">432000</cx:pt>
          <cx:pt idx="11586">432000</cx:pt>
          <cx:pt idx="11587">432000</cx:pt>
          <cx:pt idx="11588">432000</cx:pt>
          <cx:pt idx="11589">432000</cx:pt>
          <cx:pt idx="11590">432000</cx:pt>
          <cx:pt idx="11591">431750</cx:pt>
          <cx:pt idx="11592">431650</cx:pt>
          <cx:pt idx="11593">431500</cx:pt>
          <cx:pt idx="11594">431500</cx:pt>
          <cx:pt idx="11595">431200</cx:pt>
          <cx:pt idx="11596">431000</cx:pt>
          <cx:pt idx="11597">431000</cx:pt>
          <cx:pt idx="11598">431000</cx:pt>
          <cx:pt idx="11599">431000</cx:pt>
          <cx:pt idx="11600">431000</cx:pt>
          <cx:pt idx="11601">431000</cx:pt>
          <cx:pt idx="11602">431000</cx:pt>
          <cx:pt idx="11603">431000</cx:pt>
          <cx:pt idx="11604">431000</cx:pt>
          <cx:pt idx="11605">431000</cx:pt>
          <cx:pt idx="11606">431000</cx:pt>
          <cx:pt idx="11607">431000</cx:pt>
          <cx:pt idx="11608">431000</cx:pt>
          <cx:pt idx="11609">431000</cx:pt>
          <cx:pt idx="11610">431000</cx:pt>
          <cx:pt idx="11611">431000</cx:pt>
          <cx:pt idx="11612">430760</cx:pt>
          <cx:pt idx="11613">430236</cx:pt>
          <cx:pt idx="11614">430100</cx:pt>
          <cx:pt idx="11615">430000</cx:pt>
          <cx:pt idx="11616">430000</cx:pt>
          <cx:pt idx="11617">430000</cx:pt>
          <cx:pt idx="11618">430000</cx:pt>
          <cx:pt idx="11619">430000</cx:pt>
          <cx:pt idx="11620">430000</cx:pt>
          <cx:pt idx="11621">430000</cx:pt>
          <cx:pt idx="11622">430000</cx:pt>
          <cx:pt idx="11623">430000</cx:pt>
          <cx:pt idx="11624">430000</cx:pt>
          <cx:pt idx="11625">430000</cx:pt>
          <cx:pt idx="11626">430000</cx:pt>
          <cx:pt idx="11627">430000</cx:pt>
          <cx:pt idx="11628">430000</cx:pt>
          <cx:pt idx="11629">430000</cx:pt>
          <cx:pt idx="11630">430000</cx:pt>
          <cx:pt idx="11631">430000</cx:pt>
          <cx:pt idx="11632">430000</cx:pt>
          <cx:pt idx="11633">430000</cx:pt>
          <cx:pt idx="11634">430000</cx:pt>
          <cx:pt idx="11635">430000</cx:pt>
          <cx:pt idx="11636">430000</cx:pt>
          <cx:pt idx="11637">430000</cx:pt>
          <cx:pt idx="11638">430000</cx:pt>
          <cx:pt idx="11639">430000</cx:pt>
          <cx:pt idx="11640">430000</cx:pt>
          <cx:pt idx="11641">430000</cx:pt>
          <cx:pt idx="11642">430000</cx:pt>
          <cx:pt idx="11643">430000</cx:pt>
          <cx:pt idx="11644">430000</cx:pt>
          <cx:pt idx="11645">430000</cx:pt>
          <cx:pt idx="11646">430000</cx:pt>
          <cx:pt idx="11647">430000</cx:pt>
          <cx:pt idx="11648">430000</cx:pt>
          <cx:pt idx="11649">430000</cx:pt>
          <cx:pt idx="11650">430000</cx:pt>
          <cx:pt idx="11651">430000</cx:pt>
          <cx:pt idx="11652">430000</cx:pt>
          <cx:pt idx="11653">430000</cx:pt>
          <cx:pt idx="11654">430000</cx:pt>
          <cx:pt idx="11655">430000</cx:pt>
          <cx:pt idx="11656">430000</cx:pt>
          <cx:pt idx="11657">430000</cx:pt>
          <cx:pt idx="11658">430000</cx:pt>
          <cx:pt idx="11659">430000</cx:pt>
          <cx:pt idx="11660">430000</cx:pt>
          <cx:pt idx="11661">430000</cx:pt>
          <cx:pt idx="11662">430000</cx:pt>
          <cx:pt idx="11663">430000</cx:pt>
          <cx:pt idx="11664">430000</cx:pt>
          <cx:pt idx="11665">430000</cx:pt>
          <cx:pt idx="11666">430000</cx:pt>
          <cx:pt idx="11667">430000</cx:pt>
          <cx:pt idx="11668">430000</cx:pt>
          <cx:pt idx="11669">430000</cx:pt>
          <cx:pt idx="11670">430000</cx:pt>
          <cx:pt idx="11671">430000</cx:pt>
          <cx:pt idx="11672">430000</cx:pt>
          <cx:pt idx="11673">430000</cx:pt>
          <cx:pt idx="11674">430000</cx:pt>
          <cx:pt idx="11675">430000</cx:pt>
          <cx:pt idx="11676">430000</cx:pt>
          <cx:pt idx="11677">430000</cx:pt>
          <cx:pt idx="11678">430000</cx:pt>
          <cx:pt idx="11679">430000</cx:pt>
          <cx:pt idx="11680">430000</cx:pt>
          <cx:pt idx="11681">430000</cx:pt>
          <cx:pt idx="11682">430000</cx:pt>
          <cx:pt idx="11683">430000</cx:pt>
          <cx:pt idx="11684">430000</cx:pt>
          <cx:pt idx="11685">430000</cx:pt>
          <cx:pt idx="11686">430000</cx:pt>
          <cx:pt idx="11687">430000</cx:pt>
          <cx:pt idx="11688">430000</cx:pt>
          <cx:pt idx="11689">430000</cx:pt>
          <cx:pt idx="11690">430000</cx:pt>
          <cx:pt idx="11691">430000</cx:pt>
          <cx:pt idx="11692">430000</cx:pt>
          <cx:pt idx="11693">430000</cx:pt>
          <cx:pt idx="11694">430000</cx:pt>
          <cx:pt idx="11695">430000</cx:pt>
          <cx:pt idx="11696">430000</cx:pt>
          <cx:pt idx="11697">430000</cx:pt>
          <cx:pt idx="11698">430000</cx:pt>
          <cx:pt idx="11699">430000</cx:pt>
          <cx:pt idx="11700">430000</cx:pt>
          <cx:pt idx="11701">430000</cx:pt>
          <cx:pt idx="11702">430000</cx:pt>
          <cx:pt idx="11703">430000</cx:pt>
          <cx:pt idx="11704">430000</cx:pt>
          <cx:pt idx="11705">430000</cx:pt>
          <cx:pt idx="11706">429950</cx:pt>
          <cx:pt idx="11707">429950</cx:pt>
          <cx:pt idx="11708">429950</cx:pt>
          <cx:pt idx="11709">429950</cx:pt>
          <cx:pt idx="11710">429950</cx:pt>
          <cx:pt idx="11711">429950</cx:pt>
          <cx:pt idx="11712">429950</cx:pt>
          <cx:pt idx="11713">429950</cx:pt>
          <cx:pt idx="11714">429900</cx:pt>
          <cx:pt idx="11715">429900</cx:pt>
          <cx:pt idx="11716">429900</cx:pt>
          <cx:pt idx="11717">429900</cx:pt>
          <cx:pt idx="11718">429900</cx:pt>
          <cx:pt idx="11719">429900</cx:pt>
          <cx:pt idx="11720">429900</cx:pt>
          <cx:pt idx="11721">429900</cx:pt>
          <cx:pt idx="11722">429800</cx:pt>
          <cx:pt idx="11723">429592</cx:pt>
          <cx:pt idx="11724">429500</cx:pt>
          <cx:pt idx="11725">429300</cx:pt>
          <cx:pt idx="11726">429000</cx:pt>
          <cx:pt idx="11727">429000</cx:pt>
          <cx:pt idx="11728">429000</cx:pt>
          <cx:pt idx="11729">429000</cx:pt>
          <cx:pt idx="11730">429000</cx:pt>
          <cx:pt idx="11731">429000</cx:pt>
          <cx:pt idx="11732">429000</cx:pt>
          <cx:pt idx="11733">429000</cx:pt>
          <cx:pt idx="11734">429000</cx:pt>
          <cx:pt idx="11735">429000</cx:pt>
          <cx:pt idx="11736">429000</cx:pt>
          <cx:pt idx="11737">429000</cx:pt>
          <cx:pt idx="11738">429000</cx:pt>
          <cx:pt idx="11739">429000</cx:pt>
          <cx:pt idx="11740">429000</cx:pt>
          <cx:pt idx="11741">429000</cx:pt>
          <cx:pt idx="11742">429000</cx:pt>
          <cx:pt idx="11743">429000</cx:pt>
          <cx:pt idx="11744">429000</cx:pt>
          <cx:pt idx="11745">429000</cx:pt>
          <cx:pt idx="11746">429000</cx:pt>
          <cx:pt idx="11747">428950</cx:pt>
          <cx:pt idx="11748">428900</cx:pt>
          <cx:pt idx="11749">428900</cx:pt>
          <cx:pt idx="11750">428750</cx:pt>
          <cx:pt idx="11751">428750</cx:pt>
          <cx:pt idx="11752">428400</cx:pt>
          <cx:pt idx="11753">428040</cx:pt>
          <cx:pt idx="11754">428000</cx:pt>
          <cx:pt idx="11755">428000</cx:pt>
          <cx:pt idx="11756">428000</cx:pt>
          <cx:pt idx="11757">428000</cx:pt>
          <cx:pt idx="11758">428000</cx:pt>
          <cx:pt idx="11759">428000</cx:pt>
          <cx:pt idx="11760">428000</cx:pt>
          <cx:pt idx="11761">428000</cx:pt>
          <cx:pt idx="11762">428000</cx:pt>
          <cx:pt idx="11763">428000</cx:pt>
          <cx:pt idx="11764">428000</cx:pt>
          <cx:pt idx="11765">428000</cx:pt>
          <cx:pt idx="11766">428000</cx:pt>
          <cx:pt idx="11767">427874</cx:pt>
          <cx:pt idx="11768">427800</cx:pt>
          <cx:pt idx="11769">427550</cx:pt>
          <cx:pt idx="11770">427500</cx:pt>
          <cx:pt idx="11771">427500</cx:pt>
          <cx:pt idx="11772">427500</cx:pt>
          <cx:pt idx="11773">427500</cx:pt>
          <cx:pt idx="11774">427500</cx:pt>
          <cx:pt idx="11775">427500</cx:pt>
          <cx:pt idx="11776">427500</cx:pt>
          <cx:pt idx="11777">427500</cx:pt>
          <cx:pt idx="11778">427500</cx:pt>
          <cx:pt idx="11779">427500</cx:pt>
          <cx:pt idx="11780">427200</cx:pt>
          <cx:pt idx="11781">427005</cx:pt>
          <cx:pt idx="11782">427000</cx:pt>
          <cx:pt idx="11783">427000</cx:pt>
          <cx:pt idx="11784">427000</cx:pt>
          <cx:pt idx="11785">427000</cx:pt>
          <cx:pt idx="11786">427000</cx:pt>
          <cx:pt idx="11787">427000</cx:pt>
          <cx:pt idx="11788">427000</cx:pt>
          <cx:pt idx="11789">427000</cx:pt>
          <cx:pt idx="11790">427000</cx:pt>
          <cx:pt idx="11791">427000</cx:pt>
          <cx:pt idx="11792">427000</cx:pt>
          <cx:pt idx="11793">427000</cx:pt>
          <cx:pt idx="11794">427000</cx:pt>
          <cx:pt idx="11795">427000</cx:pt>
          <cx:pt idx="11796">427000</cx:pt>
          <cx:pt idx="11797">427000</cx:pt>
          <cx:pt idx="11798">426950</cx:pt>
          <cx:pt idx="11799">426700</cx:pt>
          <cx:pt idx="11800">426500</cx:pt>
          <cx:pt idx="11801">426500</cx:pt>
          <cx:pt idx="11802">426500</cx:pt>
          <cx:pt idx="11803">426250</cx:pt>
          <cx:pt idx="11804">426000</cx:pt>
          <cx:pt idx="11805">426000</cx:pt>
          <cx:pt idx="11806">426000</cx:pt>
          <cx:pt idx="11807">426000</cx:pt>
          <cx:pt idx="11808">426000</cx:pt>
          <cx:pt idx="11809">426000</cx:pt>
          <cx:pt idx="11810">426000</cx:pt>
          <cx:pt idx="11811">426000</cx:pt>
          <cx:pt idx="11812">426000</cx:pt>
          <cx:pt idx="11813">426000</cx:pt>
          <cx:pt idx="11814">425996</cx:pt>
          <cx:pt idx="11815">425590</cx:pt>
          <cx:pt idx="11816">425500</cx:pt>
          <cx:pt idx="11817">425500</cx:pt>
          <cx:pt idx="11818">425000</cx:pt>
          <cx:pt idx="11819">425000</cx:pt>
          <cx:pt idx="11820">425000</cx:pt>
          <cx:pt idx="11821">425000</cx:pt>
          <cx:pt idx="11822">425000</cx:pt>
          <cx:pt idx="11823">425000</cx:pt>
          <cx:pt idx="11824">425000</cx:pt>
          <cx:pt idx="11825">425000</cx:pt>
          <cx:pt idx="11826">425000</cx:pt>
          <cx:pt idx="11827">425000</cx:pt>
          <cx:pt idx="11828">425000</cx:pt>
          <cx:pt idx="11829">425000</cx:pt>
          <cx:pt idx="11830">425000</cx:pt>
          <cx:pt idx="11831">425000</cx:pt>
          <cx:pt idx="11832">425000</cx:pt>
          <cx:pt idx="11833">425000</cx:pt>
          <cx:pt idx="11834">425000</cx:pt>
          <cx:pt idx="11835">425000</cx:pt>
          <cx:pt idx="11836">425000</cx:pt>
          <cx:pt idx="11837">425000</cx:pt>
          <cx:pt idx="11838">425000</cx:pt>
          <cx:pt idx="11839">425000</cx:pt>
          <cx:pt idx="11840">425000</cx:pt>
          <cx:pt idx="11841">425000</cx:pt>
          <cx:pt idx="11842">425000</cx:pt>
          <cx:pt idx="11843">425000</cx:pt>
          <cx:pt idx="11844">425000</cx:pt>
          <cx:pt idx="11845">425000</cx:pt>
          <cx:pt idx="11846">425000</cx:pt>
          <cx:pt idx="11847">425000</cx:pt>
          <cx:pt idx="11848">425000</cx:pt>
          <cx:pt idx="11849">425000</cx:pt>
          <cx:pt idx="11850">425000</cx:pt>
          <cx:pt idx="11851">425000</cx:pt>
          <cx:pt idx="11852">425000</cx:pt>
          <cx:pt idx="11853">425000</cx:pt>
          <cx:pt idx="11854">425000</cx:pt>
          <cx:pt idx="11855">425000</cx:pt>
          <cx:pt idx="11856">425000</cx:pt>
          <cx:pt idx="11857">425000</cx:pt>
          <cx:pt idx="11858">425000</cx:pt>
          <cx:pt idx="11859">425000</cx:pt>
          <cx:pt idx="11860">425000</cx:pt>
          <cx:pt idx="11861">425000</cx:pt>
          <cx:pt idx="11862">425000</cx:pt>
          <cx:pt idx="11863">425000</cx:pt>
          <cx:pt idx="11864">425000</cx:pt>
          <cx:pt idx="11865">425000</cx:pt>
          <cx:pt idx="11866">425000</cx:pt>
          <cx:pt idx="11867">425000</cx:pt>
          <cx:pt idx="11868">425000</cx:pt>
          <cx:pt idx="11869">425000</cx:pt>
          <cx:pt idx="11870">425000</cx:pt>
          <cx:pt idx="11871">425000</cx:pt>
          <cx:pt idx="11872">425000</cx:pt>
          <cx:pt idx="11873">425000</cx:pt>
          <cx:pt idx="11874">425000</cx:pt>
          <cx:pt idx="11875">425000</cx:pt>
          <cx:pt idx="11876">425000</cx:pt>
          <cx:pt idx="11877">425000</cx:pt>
          <cx:pt idx="11878">425000</cx:pt>
          <cx:pt idx="11879">425000</cx:pt>
          <cx:pt idx="11880">425000</cx:pt>
          <cx:pt idx="11881">425000</cx:pt>
          <cx:pt idx="11882">425000</cx:pt>
          <cx:pt idx="11883">425000</cx:pt>
          <cx:pt idx="11884">425000</cx:pt>
          <cx:pt idx="11885">425000</cx:pt>
          <cx:pt idx="11886">425000</cx:pt>
          <cx:pt idx="11887">425000</cx:pt>
          <cx:pt idx="11888">425000</cx:pt>
          <cx:pt idx="11889">425000</cx:pt>
          <cx:pt idx="11890">425000</cx:pt>
          <cx:pt idx="11891">425000</cx:pt>
          <cx:pt idx="11892">425000</cx:pt>
          <cx:pt idx="11893">425000</cx:pt>
          <cx:pt idx="11894">425000</cx:pt>
          <cx:pt idx="11895">425000</cx:pt>
          <cx:pt idx="11896">425000</cx:pt>
          <cx:pt idx="11897">425000</cx:pt>
          <cx:pt idx="11898">425000</cx:pt>
          <cx:pt idx="11899">425000</cx:pt>
          <cx:pt idx="11900">425000</cx:pt>
          <cx:pt idx="11901">425000</cx:pt>
          <cx:pt idx="11902">425000</cx:pt>
          <cx:pt idx="11903">425000</cx:pt>
          <cx:pt idx="11904">425000</cx:pt>
          <cx:pt idx="11905">425000</cx:pt>
          <cx:pt idx="11906">425000</cx:pt>
          <cx:pt idx="11907">425000</cx:pt>
          <cx:pt idx="11908">425000</cx:pt>
          <cx:pt idx="11909">425000</cx:pt>
          <cx:pt idx="11910">425000</cx:pt>
          <cx:pt idx="11911">425000</cx:pt>
          <cx:pt idx="11912">425000</cx:pt>
          <cx:pt idx="11913">425000</cx:pt>
          <cx:pt idx="11914">425000</cx:pt>
          <cx:pt idx="11915">425000</cx:pt>
          <cx:pt idx="11916">425000</cx:pt>
          <cx:pt idx="11917">425000</cx:pt>
          <cx:pt idx="11918">425000</cx:pt>
          <cx:pt idx="11919">425000</cx:pt>
          <cx:pt idx="11920">425000</cx:pt>
          <cx:pt idx="11921">425000</cx:pt>
          <cx:pt idx="11922">425000</cx:pt>
          <cx:pt idx="11923">425000</cx:pt>
          <cx:pt idx="11924">425000</cx:pt>
          <cx:pt idx="11925">425000</cx:pt>
          <cx:pt idx="11926">425000</cx:pt>
          <cx:pt idx="11927">425000</cx:pt>
          <cx:pt idx="11928">425000</cx:pt>
          <cx:pt idx="11929">425000</cx:pt>
          <cx:pt idx="11930">425000</cx:pt>
          <cx:pt idx="11931">425000</cx:pt>
          <cx:pt idx="11932">425000</cx:pt>
          <cx:pt idx="11933">425000</cx:pt>
          <cx:pt idx="11934">425000</cx:pt>
          <cx:pt idx="11935">425000</cx:pt>
          <cx:pt idx="11936">425000</cx:pt>
          <cx:pt idx="11937">425000</cx:pt>
          <cx:pt idx="11938">425000</cx:pt>
          <cx:pt idx="11939">425000</cx:pt>
          <cx:pt idx="11940">425000</cx:pt>
          <cx:pt idx="11941">425000</cx:pt>
          <cx:pt idx="11942">425000</cx:pt>
          <cx:pt idx="11943">425000</cx:pt>
          <cx:pt idx="11944">425000</cx:pt>
          <cx:pt idx="11945">425000</cx:pt>
          <cx:pt idx="11946">425000</cx:pt>
          <cx:pt idx="11947">425000</cx:pt>
          <cx:pt idx="11948">425000</cx:pt>
          <cx:pt idx="11949">425000</cx:pt>
          <cx:pt idx="11950">425000</cx:pt>
          <cx:pt idx="11951">425000</cx:pt>
          <cx:pt idx="11952">425000</cx:pt>
          <cx:pt idx="11953">425000</cx:pt>
          <cx:pt idx="11954">425000</cx:pt>
          <cx:pt idx="11955">425000</cx:pt>
          <cx:pt idx="11956">425000</cx:pt>
          <cx:pt idx="11957">425000</cx:pt>
          <cx:pt idx="11958">425000</cx:pt>
          <cx:pt idx="11959">425000</cx:pt>
          <cx:pt idx="11960">425000</cx:pt>
          <cx:pt idx="11961">425000</cx:pt>
          <cx:pt idx="11962">425000</cx:pt>
          <cx:pt idx="11963">425000</cx:pt>
          <cx:pt idx="11964">425000</cx:pt>
          <cx:pt idx="11965">425000</cx:pt>
          <cx:pt idx="11966">425000</cx:pt>
          <cx:pt idx="11967">425000</cx:pt>
          <cx:pt idx="11968">424950</cx:pt>
          <cx:pt idx="11969">424950</cx:pt>
          <cx:pt idx="11970">424950</cx:pt>
          <cx:pt idx="11971">424950</cx:pt>
          <cx:pt idx="11972">424950</cx:pt>
          <cx:pt idx="11973">424950</cx:pt>
          <cx:pt idx="11974">424950</cx:pt>
          <cx:pt idx="11975">424950</cx:pt>
          <cx:pt idx="11976">424900</cx:pt>
          <cx:pt idx="11977">424500</cx:pt>
          <cx:pt idx="11978">424500</cx:pt>
          <cx:pt idx="11979">424305</cx:pt>
          <cx:pt idx="11980">424240</cx:pt>
          <cx:pt idx="11981">424000</cx:pt>
          <cx:pt idx="11982">424000</cx:pt>
          <cx:pt idx="11983">424000</cx:pt>
          <cx:pt idx="11984">424000</cx:pt>
          <cx:pt idx="11985">424000</cx:pt>
          <cx:pt idx="11986">424000</cx:pt>
          <cx:pt idx="11987">424000</cx:pt>
          <cx:pt idx="11988">424000</cx:pt>
          <cx:pt idx="11989">424000</cx:pt>
          <cx:pt idx="11990">424000</cx:pt>
          <cx:pt idx="11991">423800</cx:pt>
          <cx:pt idx="11992">423700</cx:pt>
          <cx:pt idx="11993">423500</cx:pt>
          <cx:pt idx="11994">423500</cx:pt>
          <cx:pt idx="11995">423500</cx:pt>
          <cx:pt idx="11996">423000</cx:pt>
          <cx:pt idx="11997">423000</cx:pt>
          <cx:pt idx="11998">423000</cx:pt>
          <cx:pt idx="11999">423000</cx:pt>
          <cx:pt idx="12000">423000</cx:pt>
          <cx:pt idx="12001">423000</cx:pt>
          <cx:pt idx="12002">423000</cx:pt>
          <cx:pt idx="12003">423000</cx:pt>
          <cx:pt idx="12004">423000</cx:pt>
          <cx:pt idx="12005">423000</cx:pt>
          <cx:pt idx="12006">423000</cx:pt>
          <cx:pt idx="12007">422800</cx:pt>
          <cx:pt idx="12008">422500</cx:pt>
          <cx:pt idx="12009">422500</cx:pt>
          <cx:pt idx="12010">422500</cx:pt>
          <cx:pt idx="12011">422500</cx:pt>
          <cx:pt idx="12012">422500</cx:pt>
          <cx:pt idx="12013">422500</cx:pt>
          <cx:pt idx="12014">422500</cx:pt>
          <cx:pt idx="12015">422250</cx:pt>
          <cx:pt idx="12016">422250</cx:pt>
          <cx:pt idx="12017">422120</cx:pt>
          <cx:pt idx="12018">422000</cx:pt>
          <cx:pt idx="12019">422000</cx:pt>
          <cx:pt idx="12020">422000</cx:pt>
          <cx:pt idx="12021">422000</cx:pt>
          <cx:pt idx="12022">422000</cx:pt>
          <cx:pt idx="12023">422000</cx:pt>
          <cx:pt idx="12024">421500</cx:pt>
          <cx:pt idx="12025">421500</cx:pt>
          <cx:pt idx="12026">421200</cx:pt>
          <cx:pt idx="12027">421000</cx:pt>
          <cx:pt idx="12028">421000</cx:pt>
          <cx:pt idx="12029">421000</cx:pt>
          <cx:pt idx="12030">421000</cx:pt>
          <cx:pt idx="12031">421000</cx:pt>
          <cx:pt idx="12032">421000</cx:pt>
          <cx:pt idx="12033">420850</cx:pt>
          <cx:pt idx="12034">420550</cx:pt>
          <cx:pt idx="12035">420250</cx:pt>
          <cx:pt idx="12036">420200</cx:pt>
          <cx:pt idx="12037">420000</cx:pt>
          <cx:pt idx="12038">420000</cx:pt>
          <cx:pt idx="12039">420000</cx:pt>
          <cx:pt idx="12040">420000</cx:pt>
          <cx:pt idx="12041">420000</cx:pt>
          <cx:pt idx="12042">420000</cx:pt>
          <cx:pt idx="12043">420000</cx:pt>
          <cx:pt idx="12044">420000</cx:pt>
          <cx:pt idx="12045">420000</cx:pt>
          <cx:pt idx="12046">420000</cx:pt>
          <cx:pt idx="12047">420000</cx:pt>
          <cx:pt idx="12048">420000</cx:pt>
          <cx:pt idx="12049">420000</cx:pt>
          <cx:pt idx="12050">420000</cx:pt>
          <cx:pt idx="12051">420000</cx:pt>
          <cx:pt idx="12052">420000</cx:pt>
          <cx:pt idx="12053">420000</cx:pt>
          <cx:pt idx="12054">420000</cx:pt>
          <cx:pt idx="12055">420000</cx:pt>
          <cx:pt idx="12056">420000</cx:pt>
          <cx:pt idx="12057">420000</cx:pt>
          <cx:pt idx="12058">420000</cx:pt>
          <cx:pt idx="12059">420000</cx:pt>
          <cx:pt idx="12060">420000</cx:pt>
          <cx:pt idx="12061">420000</cx:pt>
          <cx:pt idx="12062">420000</cx:pt>
          <cx:pt idx="12063">420000</cx:pt>
          <cx:pt idx="12064">420000</cx:pt>
          <cx:pt idx="12065">420000</cx:pt>
          <cx:pt idx="12066">420000</cx:pt>
          <cx:pt idx="12067">420000</cx:pt>
          <cx:pt idx="12068">420000</cx:pt>
          <cx:pt idx="12069">420000</cx:pt>
          <cx:pt idx="12070">420000</cx:pt>
          <cx:pt idx="12071">420000</cx:pt>
          <cx:pt idx="12072">420000</cx:pt>
          <cx:pt idx="12073">420000</cx:pt>
          <cx:pt idx="12074">420000</cx:pt>
          <cx:pt idx="12075">420000</cx:pt>
          <cx:pt idx="12076">420000</cx:pt>
          <cx:pt idx="12077">420000</cx:pt>
          <cx:pt idx="12078">420000</cx:pt>
          <cx:pt idx="12079">420000</cx:pt>
          <cx:pt idx="12080">420000</cx:pt>
          <cx:pt idx="12081">420000</cx:pt>
          <cx:pt idx="12082">420000</cx:pt>
          <cx:pt idx="12083">420000</cx:pt>
          <cx:pt idx="12084">420000</cx:pt>
          <cx:pt idx="12085">420000</cx:pt>
          <cx:pt idx="12086">420000</cx:pt>
          <cx:pt idx="12087">420000</cx:pt>
          <cx:pt idx="12088">420000</cx:pt>
          <cx:pt idx="12089">420000</cx:pt>
          <cx:pt idx="12090">420000</cx:pt>
          <cx:pt idx="12091">420000</cx:pt>
          <cx:pt idx="12092">420000</cx:pt>
          <cx:pt idx="12093">420000</cx:pt>
          <cx:pt idx="12094">420000</cx:pt>
          <cx:pt idx="12095">420000</cx:pt>
          <cx:pt idx="12096">420000</cx:pt>
          <cx:pt idx="12097">420000</cx:pt>
          <cx:pt idx="12098">420000</cx:pt>
          <cx:pt idx="12099">420000</cx:pt>
          <cx:pt idx="12100">420000</cx:pt>
          <cx:pt idx="12101">420000</cx:pt>
          <cx:pt idx="12102">420000</cx:pt>
          <cx:pt idx="12103">420000</cx:pt>
          <cx:pt idx="12104">420000</cx:pt>
          <cx:pt idx="12105">420000</cx:pt>
          <cx:pt idx="12106">420000</cx:pt>
          <cx:pt idx="12107">420000</cx:pt>
          <cx:pt idx="12108">420000</cx:pt>
          <cx:pt idx="12109">420000</cx:pt>
          <cx:pt idx="12110">420000</cx:pt>
          <cx:pt idx="12111">420000</cx:pt>
          <cx:pt idx="12112">420000</cx:pt>
          <cx:pt idx="12113">420000</cx:pt>
          <cx:pt idx="12114">420000</cx:pt>
          <cx:pt idx="12115">420000</cx:pt>
          <cx:pt idx="12116">420000</cx:pt>
          <cx:pt idx="12117">420000</cx:pt>
          <cx:pt idx="12118">420000</cx:pt>
          <cx:pt idx="12119">420000</cx:pt>
          <cx:pt idx="12120">420000</cx:pt>
          <cx:pt idx="12121">420000</cx:pt>
          <cx:pt idx="12122">420000</cx:pt>
          <cx:pt idx="12123">420000</cx:pt>
          <cx:pt idx="12124">420000</cx:pt>
          <cx:pt idx="12125">420000</cx:pt>
          <cx:pt idx="12126">420000</cx:pt>
          <cx:pt idx="12127">420000</cx:pt>
          <cx:pt idx="12128">420000</cx:pt>
          <cx:pt idx="12129">420000</cx:pt>
          <cx:pt idx="12130">420000</cx:pt>
          <cx:pt idx="12131">420000</cx:pt>
          <cx:pt idx="12132">420000</cx:pt>
          <cx:pt idx="12133">420000</cx:pt>
          <cx:pt idx="12134">419995</cx:pt>
          <cx:pt idx="12135">419990</cx:pt>
          <cx:pt idx="12136">419950</cx:pt>
          <cx:pt idx="12137">419950</cx:pt>
          <cx:pt idx="12138">419950</cx:pt>
          <cx:pt idx="12139">419950</cx:pt>
          <cx:pt idx="12140">419950</cx:pt>
          <cx:pt idx="12141">419950</cx:pt>
          <cx:pt idx="12142">419950</cx:pt>
          <cx:pt idx="12143">419950</cx:pt>
          <cx:pt idx="12144">419950</cx:pt>
          <cx:pt idx="12145">419950</cx:pt>
          <cx:pt idx="12146">419900</cx:pt>
          <cx:pt idx="12147">419900</cx:pt>
          <cx:pt idx="12148">419900</cx:pt>
          <cx:pt idx="12149">419900</cx:pt>
          <cx:pt idx="12150">419700</cx:pt>
          <cx:pt idx="12151">419625</cx:pt>
          <cx:pt idx="12152">419600</cx:pt>
          <cx:pt idx="12153">419500</cx:pt>
          <cx:pt idx="12154">419500</cx:pt>
          <cx:pt idx="12155">419500</cx:pt>
          <cx:pt idx="12156">419354</cx:pt>
          <cx:pt idx="12157">419190</cx:pt>
          <cx:pt idx="12158">419000</cx:pt>
          <cx:pt idx="12159">419000</cx:pt>
          <cx:pt idx="12160">419000</cx:pt>
          <cx:pt idx="12161">419000</cx:pt>
          <cx:pt idx="12162">419000</cx:pt>
          <cx:pt idx="12163">419000</cx:pt>
          <cx:pt idx="12164">419000</cx:pt>
          <cx:pt idx="12165">419000</cx:pt>
          <cx:pt idx="12166">419000</cx:pt>
          <cx:pt idx="12167">419000</cx:pt>
          <cx:pt idx="12168">419000</cx:pt>
          <cx:pt idx="12169">419000</cx:pt>
          <cx:pt idx="12170">419000</cx:pt>
          <cx:pt idx="12171">419000</cx:pt>
          <cx:pt idx="12172">419000</cx:pt>
          <cx:pt idx="12173">419000</cx:pt>
          <cx:pt idx="12174">419000</cx:pt>
          <cx:pt idx="12175">419000</cx:pt>
          <cx:pt idx="12176">419000</cx:pt>
          <cx:pt idx="12177">419000</cx:pt>
          <cx:pt idx="12178">418900</cx:pt>
          <cx:pt idx="12179">418800</cx:pt>
          <cx:pt idx="12180">418500</cx:pt>
          <cx:pt idx="12181">418500</cx:pt>
          <cx:pt idx="12182">418500</cx:pt>
          <cx:pt idx="12183">418500</cx:pt>
          <cx:pt idx="12184">418395</cx:pt>
          <cx:pt idx="12185">418200</cx:pt>
          <cx:pt idx="12186">418200</cx:pt>
          <cx:pt idx="12187">418000</cx:pt>
          <cx:pt idx="12188">418000</cx:pt>
          <cx:pt idx="12189">418000</cx:pt>
          <cx:pt idx="12190">418000</cx:pt>
          <cx:pt idx="12191">418000</cx:pt>
          <cx:pt idx="12192">418000</cx:pt>
          <cx:pt idx="12193">418000</cx:pt>
          <cx:pt idx="12194">418000</cx:pt>
          <cx:pt idx="12195">418000</cx:pt>
          <cx:pt idx="12196">418000</cx:pt>
          <cx:pt idx="12197">418000</cx:pt>
          <cx:pt idx="12198">418000</cx:pt>
          <cx:pt idx="12199">418000</cx:pt>
          <cx:pt idx="12200">418000</cx:pt>
          <cx:pt idx="12201">418000</cx:pt>
          <cx:pt idx="12202">417838</cx:pt>
          <cx:pt idx="12203">417500</cx:pt>
          <cx:pt idx="12204">417500</cx:pt>
          <cx:pt idx="12205">417500</cx:pt>
          <cx:pt idx="12206">417500</cx:pt>
          <cx:pt idx="12207">417500</cx:pt>
          <cx:pt idx="12208">417400</cx:pt>
          <cx:pt idx="12209">417250</cx:pt>
          <cx:pt idx="12210">417200</cx:pt>
          <cx:pt idx="12211">417000</cx:pt>
          <cx:pt idx="12212">417000</cx:pt>
          <cx:pt idx="12213">417000</cx:pt>
          <cx:pt idx="12214">417000</cx:pt>
          <cx:pt idx="12215">417000</cx:pt>
          <cx:pt idx="12216">417000</cx:pt>
          <cx:pt idx="12217">417000</cx:pt>
          <cx:pt idx="12218">417000</cx:pt>
          <cx:pt idx="12219">417000</cx:pt>
          <cx:pt idx="12220">417000</cx:pt>
          <cx:pt idx="12221">417000</cx:pt>
          <cx:pt idx="12222">417000</cx:pt>
          <cx:pt idx="12223">417000</cx:pt>
          <cx:pt idx="12224">417000</cx:pt>
          <cx:pt idx="12225">417000</cx:pt>
          <cx:pt idx="12226">417000</cx:pt>
          <cx:pt idx="12227">416500</cx:pt>
          <cx:pt idx="12228">416500</cx:pt>
          <cx:pt idx="12229">416286</cx:pt>
          <cx:pt idx="12230">416100</cx:pt>
          <cx:pt idx="12231">416000</cx:pt>
          <cx:pt idx="12232">416000</cx:pt>
          <cx:pt idx="12233">416000</cx:pt>
          <cx:pt idx="12234">416000</cx:pt>
          <cx:pt idx="12235">416000</cx:pt>
          <cx:pt idx="12236">416000</cx:pt>
          <cx:pt idx="12237">416000</cx:pt>
          <cx:pt idx="12238">416000</cx:pt>
          <cx:pt idx="12239">416000</cx:pt>
          <cx:pt idx="12240">416000</cx:pt>
          <cx:pt idx="12241">416000</cx:pt>
          <cx:pt idx="12242">415950</cx:pt>
          <cx:pt idx="12243">415900</cx:pt>
          <cx:pt idx="12244">415885</cx:pt>
          <cx:pt idx="12245">415500</cx:pt>
          <cx:pt idx="12246">415500</cx:pt>
          <cx:pt idx="12247">415500</cx:pt>
          <cx:pt idx="12248">415250</cx:pt>
          <cx:pt idx="12249">415000</cx:pt>
          <cx:pt idx="12250">415000</cx:pt>
          <cx:pt idx="12251">415000</cx:pt>
          <cx:pt idx="12252">415000</cx:pt>
          <cx:pt idx="12253">415000</cx:pt>
          <cx:pt idx="12254">415000</cx:pt>
          <cx:pt idx="12255">415000</cx:pt>
          <cx:pt idx="12256">415000</cx:pt>
          <cx:pt idx="12257">415000</cx:pt>
          <cx:pt idx="12258">415000</cx:pt>
          <cx:pt idx="12259">415000</cx:pt>
          <cx:pt idx="12260">415000</cx:pt>
          <cx:pt idx="12261">415000</cx:pt>
          <cx:pt idx="12262">415000</cx:pt>
          <cx:pt idx="12263">415000</cx:pt>
          <cx:pt idx="12264">415000</cx:pt>
          <cx:pt idx="12265">415000</cx:pt>
          <cx:pt idx="12266">415000</cx:pt>
          <cx:pt idx="12267">415000</cx:pt>
          <cx:pt idx="12268">415000</cx:pt>
          <cx:pt idx="12269">415000</cx:pt>
          <cx:pt idx="12270">415000</cx:pt>
          <cx:pt idx="12271">415000</cx:pt>
          <cx:pt idx="12272">415000</cx:pt>
          <cx:pt idx="12273">415000</cx:pt>
          <cx:pt idx="12274">415000</cx:pt>
          <cx:pt idx="12275">415000</cx:pt>
          <cx:pt idx="12276">415000</cx:pt>
          <cx:pt idx="12277">415000</cx:pt>
          <cx:pt idx="12278">415000</cx:pt>
          <cx:pt idx="12279">415000</cx:pt>
          <cx:pt idx="12280">415000</cx:pt>
          <cx:pt idx="12281">415000</cx:pt>
          <cx:pt idx="12282">415000</cx:pt>
          <cx:pt idx="12283">415000</cx:pt>
          <cx:pt idx="12284">415000</cx:pt>
          <cx:pt idx="12285">415000</cx:pt>
          <cx:pt idx="12286">415000</cx:pt>
          <cx:pt idx="12287">415000</cx:pt>
          <cx:pt idx="12288">415000</cx:pt>
          <cx:pt idx="12289">415000</cx:pt>
          <cx:pt idx="12290">415000</cx:pt>
          <cx:pt idx="12291">415000</cx:pt>
          <cx:pt idx="12292">415000</cx:pt>
          <cx:pt idx="12293">415000</cx:pt>
          <cx:pt idx="12294">415000</cx:pt>
          <cx:pt idx="12295">415000</cx:pt>
          <cx:pt idx="12296">415000</cx:pt>
          <cx:pt idx="12297">415000</cx:pt>
          <cx:pt idx="12298">415000</cx:pt>
          <cx:pt idx="12299">415000</cx:pt>
          <cx:pt idx="12300">415000</cx:pt>
          <cx:pt idx="12301">415000</cx:pt>
          <cx:pt idx="12302">415000</cx:pt>
          <cx:pt idx="12303">415000</cx:pt>
          <cx:pt idx="12304">415000</cx:pt>
          <cx:pt idx="12305">415000</cx:pt>
          <cx:pt idx="12306">415000</cx:pt>
          <cx:pt idx="12307">415000</cx:pt>
          <cx:pt idx="12308">415000</cx:pt>
          <cx:pt idx="12309">415000</cx:pt>
          <cx:pt idx="12310">415000</cx:pt>
          <cx:pt idx="12311">415000</cx:pt>
          <cx:pt idx="12312">415000</cx:pt>
          <cx:pt idx="12313">415000</cx:pt>
          <cx:pt idx="12314">415000</cx:pt>
          <cx:pt idx="12315">415000</cx:pt>
          <cx:pt idx="12316">415000</cx:pt>
          <cx:pt idx="12317">415000</cx:pt>
          <cx:pt idx="12318">415000</cx:pt>
          <cx:pt idx="12319">415000</cx:pt>
          <cx:pt idx="12320">415000</cx:pt>
          <cx:pt idx="12321">415000</cx:pt>
          <cx:pt idx="12322">415000</cx:pt>
          <cx:pt idx="12323">415000</cx:pt>
          <cx:pt idx="12324">415000</cx:pt>
          <cx:pt idx="12325">415000</cx:pt>
          <cx:pt idx="12326">415000</cx:pt>
          <cx:pt idx="12327">415000</cx:pt>
          <cx:pt idx="12328">415000</cx:pt>
          <cx:pt idx="12329">415000</cx:pt>
          <cx:pt idx="12330">415000</cx:pt>
          <cx:pt idx="12331">415000</cx:pt>
          <cx:pt idx="12332">415000</cx:pt>
          <cx:pt idx="12333">415000</cx:pt>
          <cx:pt idx="12334">415000</cx:pt>
          <cx:pt idx="12335">415000</cx:pt>
          <cx:pt idx="12336">415000</cx:pt>
          <cx:pt idx="12337">415000</cx:pt>
          <cx:pt idx="12338">415000</cx:pt>
          <cx:pt idx="12339">415000</cx:pt>
          <cx:pt idx="12340">415000</cx:pt>
          <cx:pt idx="12341">415000</cx:pt>
          <cx:pt idx="12342">415000</cx:pt>
          <cx:pt idx="12343">415000</cx:pt>
          <cx:pt idx="12344">415000</cx:pt>
          <cx:pt idx="12345">415000</cx:pt>
          <cx:pt idx="12346">415000</cx:pt>
          <cx:pt idx="12347">415000</cx:pt>
          <cx:pt idx="12348">415000</cx:pt>
          <cx:pt idx="12349">415000</cx:pt>
          <cx:pt idx="12350">415000</cx:pt>
          <cx:pt idx="12351">415000</cx:pt>
          <cx:pt idx="12352">415000</cx:pt>
          <cx:pt idx="12353">415000</cx:pt>
          <cx:pt idx="12354">415000</cx:pt>
          <cx:pt idx="12355">415000</cx:pt>
          <cx:pt idx="12356">415000</cx:pt>
          <cx:pt idx="12357">415000</cx:pt>
          <cx:pt idx="12358">415000</cx:pt>
          <cx:pt idx="12359">415000</cx:pt>
          <cx:pt idx="12360">414999</cx:pt>
          <cx:pt idx="12361">414950</cx:pt>
          <cx:pt idx="12362">414950</cx:pt>
          <cx:pt idx="12363">414900</cx:pt>
          <cx:pt idx="12364">414500</cx:pt>
          <cx:pt idx="12365">414500</cx:pt>
          <cx:pt idx="12366">414500</cx:pt>
          <cx:pt idx="12367">414250</cx:pt>
          <cx:pt idx="12368">414050</cx:pt>
          <cx:pt idx="12369">414000</cx:pt>
          <cx:pt idx="12370">414000</cx:pt>
          <cx:pt idx="12371">414000</cx:pt>
          <cx:pt idx="12372">414000</cx:pt>
          <cx:pt idx="12373">414000</cx:pt>
          <cx:pt idx="12374">414000</cx:pt>
          <cx:pt idx="12375">413900</cx:pt>
          <cx:pt idx="12376">413800</cx:pt>
          <cx:pt idx="12377">413565</cx:pt>
          <cx:pt idx="12378">413500</cx:pt>
          <cx:pt idx="12379">413450</cx:pt>
          <cx:pt idx="12380">413252</cx:pt>
          <cx:pt idx="12381">413107</cx:pt>
          <cx:pt idx="12382">413100</cx:pt>
          <cx:pt idx="12383">413000</cx:pt>
          <cx:pt idx="12384">413000</cx:pt>
          <cx:pt idx="12385">413000</cx:pt>
          <cx:pt idx="12386">413000</cx:pt>
          <cx:pt idx="12387">413000</cx:pt>
          <cx:pt idx="12388">412950</cx:pt>
          <cx:pt idx="12389">412500</cx:pt>
          <cx:pt idx="12390">412500</cx:pt>
          <cx:pt idx="12391">412500</cx:pt>
          <cx:pt idx="12392">412500</cx:pt>
          <cx:pt idx="12393">412500</cx:pt>
          <cx:pt idx="12394">412450</cx:pt>
          <cx:pt idx="12395">412250</cx:pt>
          <cx:pt idx="12396">412133</cx:pt>
          <cx:pt idx="12397">412000</cx:pt>
          <cx:pt idx="12398">412000</cx:pt>
          <cx:pt idx="12399">412000</cx:pt>
          <cx:pt idx="12400">412000</cx:pt>
          <cx:pt idx="12401">412000</cx:pt>
          <cx:pt idx="12402">412000</cx:pt>
          <cx:pt idx="12403">412000</cx:pt>
          <cx:pt idx="12404">412000</cx:pt>
          <cx:pt idx="12405">412000</cx:pt>
          <cx:pt idx="12406">412000</cx:pt>
          <cx:pt idx="12407">412000</cx:pt>
          <cx:pt idx="12408">412000</cx:pt>
          <cx:pt idx="12409">412000</cx:pt>
          <cx:pt idx="12410">412000</cx:pt>
          <cx:pt idx="12411">412000</cx:pt>
          <cx:pt idx="12412">412000</cx:pt>
          <cx:pt idx="12413">411800</cx:pt>
          <cx:pt idx="12414">411753</cx:pt>
          <cx:pt idx="12415">411715</cx:pt>
          <cx:pt idx="12416">411605</cx:pt>
          <cx:pt idx="12417">411500</cx:pt>
          <cx:pt idx="12418">411500</cx:pt>
          <cx:pt idx="12419">411500</cx:pt>
          <cx:pt idx="12420">411100</cx:pt>
          <cx:pt idx="12421">411000</cx:pt>
          <cx:pt idx="12422">411000</cx:pt>
          <cx:pt idx="12423">411000</cx:pt>
          <cx:pt idx="12424">411000</cx:pt>
          <cx:pt idx="12425">411000</cx:pt>
          <cx:pt idx="12426">411000</cx:pt>
          <cx:pt idx="12427">411000</cx:pt>
          <cx:pt idx="12428">411000</cx:pt>
          <cx:pt idx="12429">411000</cx:pt>
          <cx:pt idx="12430">411000</cx:pt>
          <cx:pt idx="12431">410988</cx:pt>
          <cx:pt idx="12432">410500</cx:pt>
          <cx:pt idx="12433">410500</cx:pt>
          <cx:pt idx="12434">410500</cx:pt>
          <cx:pt idx="12435">410500</cx:pt>
          <cx:pt idx="12436">410000</cx:pt>
          <cx:pt idx="12437">410000</cx:pt>
          <cx:pt idx="12438">410000</cx:pt>
          <cx:pt idx="12439">410000</cx:pt>
          <cx:pt idx="12440">410000</cx:pt>
          <cx:pt idx="12441">410000</cx:pt>
          <cx:pt idx="12442">410000</cx:pt>
          <cx:pt idx="12443">410000</cx:pt>
          <cx:pt idx="12444">410000</cx:pt>
          <cx:pt idx="12445">410000</cx:pt>
          <cx:pt idx="12446">410000</cx:pt>
          <cx:pt idx="12447">410000</cx:pt>
          <cx:pt idx="12448">410000</cx:pt>
          <cx:pt idx="12449">410000</cx:pt>
          <cx:pt idx="12450">410000</cx:pt>
          <cx:pt idx="12451">410000</cx:pt>
          <cx:pt idx="12452">410000</cx:pt>
          <cx:pt idx="12453">410000</cx:pt>
          <cx:pt idx="12454">410000</cx:pt>
          <cx:pt idx="12455">410000</cx:pt>
          <cx:pt idx="12456">410000</cx:pt>
          <cx:pt idx="12457">410000</cx:pt>
          <cx:pt idx="12458">410000</cx:pt>
          <cx:pt idx="12459">410000</cx:pt>
          <cx:pt idx="12460">410000</cx:pt>
          <cx:pt idx="12461">410000</cx:pt>
          <cx:pt idx="12462">410000</cx:pt>
          <cx:pt idx="12463">410000</cx:pt>
          <cx:pt idx="12464">410000</cx:pt>
          <cx:pt idx="12465">410000</cx:pt>
          <cx:pt idx="12466">410000</cx:pt>
          <cx:pt idx="12467">410000</cx:pt>
          <cx:pt idx="12468">410000</cx:pt>
          <cx:pt idx="12469">410000</cx:pt>
          <cx:pt idx="12470">410000</cx:pt>
          <cx:pt idx="12471">410000</cx:pt>
          <cx:pt idx="12472">410000</cx:pt>
          <cx:pt idx="12473">410000</cx:pt>
          <cx:pt idx="12474">410000</cx:pt>
          <cx:pt idx="12475">410000</cx:pt>
          <cx:pt idx="12476">410000</cx:pt>
          <cx:pt idx="12477">410000</cx:pt>
          <cx:pt idx="12478">410000</cx:pt>
          <cx:pt idx="12479">410000</cx:pt>
          <cx:pt idx="12480">410000</cx:pt>
          <cx:pt idx="12481">410000</cx:pt>
          <cx:pt idx="12482">410000</cx:pt>
          <cx:pt idx="12483">410000</cx:pt>
          <cx:pt idx="12484">410000</cx:pt>
          <cx:pt idx="12485">410000</cx:pt>
          <cx:pt idx="12486">410000</cx:pt>
          <cx:pt idx="12487">410000</cx:pt>
          <cx:pt idx="12488">410000</cx:pt>
          <cx:pt idx="12489">410000</cx:pt>
          <cx:pt idx="12490">410000</cx:pt>
          <cx:pt idx="12491">410000</cx:pt>
          <cx:pt idx="12492">410000</cx:pt>
          <cx:pt idx="12493">410000</cx:pt>
          <cx:pt idx="12494">410000</cx:pt>
          <cx:pt idx="12495">410000</cx:pt>
          <cx:pt idx="12496">410000</cx:pt>
          <cx:pt idx="12497">410000</cx:pt>
          <cx:pt idx="12498">410000</cx:pt>
          <cx:pt idx="12499">410000</cx:pt>
          <cx:pt idx="12500">410000</cx:pt>
          <cx:pt idx="12501">410000</cx:pt>
          <cx:pt idx="12502">410000</cx:pt>
          <cx:pt idx="12503">410000</cx:pt>
          <cx:pt idx="12504">410000</cx:pt>
          <cx:pt idx="12505">410000</cx:pt>
          <cx:pt idx="12506">410000</cx:pt>
          <cx:pt idx="12507">410000</cx:pt>
          <cx:pt idx="12508">410000</cx:pt>
          <cx:pt idx="12509">410000</cx:pt>
          <cx:pt idx="12510">410000</cx:pt>
          <cx:pt idx="12511">410000</cx:pt>
          <cx:pt idx="12512">410000</cx:pt>
          <cx:pt idx="12513">410000</cx:pt>
          <cx:pt idx="12514">410000</cx:pt>
          <cx:pt idx="12515">410000</cx:pt>
          <cx:pt idx="12516">410000</cx:pt>
          <cx:pt idx="12517">410000</cx:pt>
          <cx:pt idx="12518">410000</cx:pt>
          <cx:pt idx="12519">410000</cx:pt>
          <cx:pt idx="12520">410000</cx:pt>
          <cx:pt idx="12521">410000</cx:pt>
          <cx:pt idx="12522">409950</cx:pt>
          <cx:pt idx="12523">409950</cx:pt>
          <cx:pt idx="12524">409950</cx:pt>
          <cx:pt idx="12525">409950</cx:pt>
          <cx:pt idx="12526">409950</cx:pt>
          <cx:pt idx="12527">409950</cx:pt>
          <cx:pt idx="12528">409900</cx:pt>
          <cx:pt idx="12529">409900</cx:pt>
          <cx:pt idx="12530">409500</cx:pt>
          <cx:pt idx="12531">409500</cx:pt>
          <cx:pt idx="12532">409316</cx:pt>
          <cx:pt idx="12533">409124</cx:pt>
          <cx:pt idx="12534">409000</cx:pt>
          <cx:pt idx="12535">409000</cx:pt>
          <cx:pt idx="12536">409000</cx:pt>
          <cx:pt idx="12537">409000</cx:pt>
          <cx:pt idx="12538">409000</cx:pt>
          <cx:pt idx="12539">409000</cx:pt>
          <cx:pt idx="12540">409000</cx:pt>
          <cx:pt idx="12541">409000</cx:pt>
          <cx:pt idx="12542">409000</cx:pt>
          <cx:pt idx="12543">408506</cx:pt>
          <cx:pt idx="12544">408500</cx:pt>
          <cx:pt idx="12545">408474</cx:pt>
          <cx:pt idx="12546">408200</cx:pt>
          <cx:pt idx="12547">408000</cx:pt>
          <cx:pt idx="12548">408000</cx:pt>
          <cx:pt idx="12549">408000</cx:pt>
          <cx:pt idx="12550">408000</cx:pt>
          <cx:pt idx="12551">408000</cx:pt>
          <cx:pt idx="12552">408000</cx:pt>
          <cx:pt idx="12553">408000</cx:pt>
          <cx:pt idx="12554">408000</cx:pt>
          <cx:pt idx="12555">408000</cx:pt>
          <cx:pt idx="12556">408000</cx:pt>
          <cx:pt idx="12557">408000</cx:pt>
          <cx:pt idx="12558">408000</cx:pt>
          <cx:pt idx="12559">408000</cx:pt>
          <cx:pt idx="12560">408000</cx:pt>
          <cx:pt idx="12561">407500</cx:pt>
          <cx:pt idx="12562">407500</cx:pt>
          <cx:pt idx="12563">407500</cx:pt>
          <cx:pt idx="12564">407500</cx:pt>
          <cx:pt idx="12565">407500</cx:pt>
          <cx:pt idx="12566">407500</cx:pt>
          <cx:pt idx="12567">407450</cx:pt>
          <cx:pt idx="12568">407450</cx:pt>
          <cx:pt idx="12569">407193</cx:pt>
          <cx:pt idx="12570">407185</cx:pt>
          <cx:pt idx="12571">407000</cx:pt>
          <cx:pt idx="12572">407000</cx:pt>
          <cx:pt idx="12573">407000</cx:pt>
          <cx:pt idx="12574">407000</cx:pt>
          <cx:pt idx="12575">407000</cx:pt>
          <cx:pt idx="12576">407000</cx:pt>
          <cx:pt idx="12577">407000</cx:pt>
          <cx:pt idx="12578">406650</cx:pt>
          <cx:pt idx="12579">406550</cx:pt>
          <cx:pt idx="12580">406500</cx:pt>
          <cx:pt idx="12581">406500</cx:pt>
          <cx:pt idx="12582">406500</cx:pt>
          <cx:pt idx="12583">406500</cx:pt>
          <cx:pt idx="12584">406500</cx:pt>
          <cx:pt idx="12585">406430</cx:pt>
          <cx:pt idx="12586">406250</cx:pt>
          <cx:pt idx="12587">406100</cx:pt>
          <cx:pt idx="12588">406000</cx:pt>
          <cx:pt idx="12589">406000</cx:pt>
          <cx:pt idx="12590">406000</cx:pt>
          <cx:pt idx="12591">406000</cx:pt>
          <cx:pt idx="12592">406000</cx:pt>
          <cx:pt idx="12593">406000</cx:pt>
          <cx:pt idx="12594">406000</cx:pt>
          <cx:pt idx="12595">406000</cx:pt>
          <cx:pt idx="12596">406000</cx:pt>
          <cx:pt idx="12597">405600</cx:pt>
          <cx:pt idx="12598">405500</cx:pt>
          <cx:pt idx="12599">405500</cx:pt>
          <cx:pt idx="12600">405300</cx:pt>
          <cx:pt idx="12601">405100</cx:pt>
          <cx:pt idx="12602">405100</cx:pt>
          <cx:pt idx="12603">405000</cx:pt>
          <cx:pt idx="12604">405000</cx:pt>
          <cx:pt idx="12605">405000</cx:pt>
          <cx:pt idx="12606">405000</cx:pt>
          <cx:pt idx="12607">405000</cx:pt>
          <cx:pt idx="12608">405000</cx:pt>
          <cx:pt idx="12609">405000</cx:pt>
          <cx:pt idx="12610">405000</cx:pt>
          <cx:pt idx="12611">405000</cx:pt>
          <cx:pt idx="12612">405000</cx:pt>
          <cx:pt idx="12613">405000</cx:pt>
          <cx:pt idx="12614">405000</cx:pt>
          <cx:pt idx="12615">405000</cx:pt>
          <cx:pt idx="12616">405000</cx:pt>
          <cx:pt idx="12617">405000</cx:pt>
          <cx:pt idx="12618">405000</cx:pt>
          <cx:pt idx="12619">405000</cx:pt>
          <cx:pt idx="12620">405000</cx:pt>
          <cx:pt idx="12621">405000</cx:pt>
          <cx:pt idx="12622">405000</cx:pt>
          <cx:pt idx="12623">405000</cx:pt>
          <cx:pt idx="12624">405000</cx:pt>
          <cx:pt idx="12625">405000</cx:pt>
          <cx:pt idx="12626">405000</cx:pt>
          <cx:pt idx="12627">405000</cx:pt>
          <cx:pt idx="12628">405000</cx:pt>
          <cx:pt idx="12629">405000</cx:pt>
          <cx:pt idx="12630">405000</cx:pt>
          <cx:pt idx="12631">405000</cx:pt>
          <cx:pt idx="12632">405000</cx:pt>
          <cx:pt idx="12633">405000</cx:pt>
          <cx:pt idx="12634">405000</cx:pt>
          <cx:pt idx="12635">405000</cx:pt>
          <cx:pt idx="12636">405000</cx:pt>
          <cx:pt idx="12637">405000</cx:pt>
          <cx:pt idx="12638">405000</cx:pt>
          <cx:pt idx="12639">405000</cx:pt>
          <cx:pt idx="12640">405000</cx:pt>
          <cx:pt idx="12641">405000</cx:pt>
          <cx:pt idx="12642">405000</cx:pt>
          <cx:pt idx="12643">405000</cx:pt>
          <cx:pt idx="12644">405000</cx:pt>
          <cx:pt idx="12645">405000</cx:pt>
          <cx:pt idx="12646">405000</cx:pt>
          <cx:pt idx="12647">405000</cx:pt>
          <cx:pt idx="12648">405000</cx:pt>
          <cx:pt idx="12649">405000</cx:pt>
          <cx:pt idx="12650">405000</cx:pt>
          <cx:pt idx="12651">405000</cx:pt>
          <cx:pt idx="12652">405000</cx:pt>
          <cx:pt idx="12653">405000</cx:pt>
          <cx:pt idx="12654">405000</cx:pt>
          <cx:pt idx="12655">405000</cx:pt>
          <cx:pt idx="12656">405000</cx:pt>
          <cx:pt idx="12657">405000</cx:pt>
          <cx:pt idx="12658">405000</cx:pt>
          <cx:pt idx="12659">405000</cx:pt>
          <cx:pt idx="12660">405000</cx:pt>
          <cx:pt idx="12661">405000</cx:pt>
          <cx:pt idx="12662">405000</cx:pt>
          <cx:pt idx="12663">405000</cx:pt>
          <cx:pt idx="12664">405000</cx:pt>
          <cx:pt idx="12665">405000</cx:pt>
          <cx:pt idx="12666">405000</cx:pt>
          <cx:pt idx="12667">405000</cx:pt>
          <cx:pt idx="12668">405000</cx:pt>
          <cx:pt idx="12669">405000</cx:pt>
          <cx:pt idx="12670">405000</cx:pt>
          <cx:pt idx="12671">405000</cx:pt>
          <cx:pt idx="12672">405000</cx:pt>
          <cx:pt idx="12673">405000</cx:pt>
          <cx:pt idx="12674">405000</cx:pt>
          <cx:pt idx="12675">405000</cx:pt>
          <cx:pt idx="12676">405000</cx:pt>
          <cx:pt idx="12677">405000</cx:pt>
          <cx:pt idx="12678">405000</cx:pt>
          <cx:pt idx="12679">405000</cx:pt>
          <cx:pt idx="12680">405000</cx:pt>
          <cx:pt idx="12681">405000</cx:pt>
          <cx:pt idx="12682">404950</cx:pt>
          <cx:pt idx="12683">404763</cx:pt>
          <cx:pt idx="12684">404600</cx:pt>
          <cx:pt idx="12685">404500</cx:pt>
          <cx:pt idx="12686">404500</cx:pt>
          <cx:pt idx="12687">404500</cx:pt>
          <cx:pt idx="12688">404000</cx:pt>
          <cx:pt idx="12689">404000</cx:pt>
          <cx:pt idx="12690">404000</cx:pt>
          <cx:pt idx="12691">404000</cx:pt>
          <cx:pt idx="12692">404000</cx:pt>
          <cx:pt idx="12693">404000</cx:pt>
          <cx:pt idx="12694">404000</cx:pt>
          <cx:pt idx="12695">403950</cx:pt>
          <cx:pt idx="12696">403950</cx:pt>
          <cx:pt idx="12697">403900</cx:pt>
          <cx:pt idx="12698">403504</cx:pt>
          <cx:pt idx="12699">403500</cx:pt>
          <cx:pt idx="12700">403500</cx:pt>
          <cx:pt idx="12701">403500</cx:pt>
          <cx:pt idx="12702">403500</cx:pt>
          <cx:pt idx="12703">403250</cx:pt>
          <cx:pt idx="12704">403000</cx:pt>
          <cx:pt idx="12705">403000</cx:pt>
          <cx:pt idx="12706">403000</cx:pt>
          <cx:pt idx="12707">403000</cx:pt>
          <cx:pt idx="12708">403000</cx:pt>
          <cx:pt idx="12709">403000</cx:pt>
          <cx:pt idx="12710">403000</cx:pt>
          <cx:pt idx="12711">403000</cx:pt>
          <cx:pt idx="12712">403000</cx:pt>
          <cx:pt idx="12713">403000</cx:pt>
          <cx:pt idx="12714">403000</cx:pt>
          <cx:pt idx="12715">403000</cx:pt>
          <cx:pt idx="12716">402723</cx:pt>
          <cx:pt idx="12717">402500</cx:pt>
          <cx:pt idx="12718">402500</cx:pt>
          <cx:pt idx="12719">402500</cx:pt>
          <cx:pt idx="12720">402500</cx:pt>
          <cx:pt idx="12721">402500</cx:pt>
          <cx:pt idx="12722">402500</cx:pt>
          <cx:pt idx="12723">402500</cx:pt>
          <cx:pt idx="12724">402500</cx:pt>
          <cx:pt idx="12725">402500</cx:pt>
          <cx:pt idx="12726">402395</cx:pt>
          <cx:pt idx="12727">402300</cx:pt>
          <cx:pt idx="12728">402200</cx:pt>
          <cx:pt idx="12729">402101</cx:pt>
          <cx:pt idx="12730">402000</cx:pt>
          <cx:pt idx="12731">402000</cx:pt>
          <cx:pt idx="12732">402000</cx:pt>
          <cx:pt idx="12733">402000</cx:pt>
          <cx:pt idx="12734">402000</cx:pt>
          <cx:pt idx="12735">402000</cx:pt>
          <cx:pt idx="12736">402000</cx:pt>
          <cx:pt idx="12737">402000</cx:pt>
          <cx:pt idx="12738">402000</cx:pt>
          <cx:pt idx="12739">402000</cx:pt>
          <cx:pt idx="12740">402000</cx:pt>
          <cx:pt idx="12741">402000</cx:pt>
          <cx:pt idx="12742">402000</cx:pt>
          <cx:pt idx="12743">402000</cx:pt>
          <cx:pt idx="12744">402000</cx:pt>
          <cx:pt idx="12745">402000</cx:pt>
          <cx:pt idx="12746">402000</cx:pt>
          <cx:pt idx="12747">402000</cx:pt>
          <cx:pt idx="12748">402000</cx:pt>
          <cx:pt idx="12749">402000</cx:pt>
          <cx:pt idx="12750">402000</cx:pt>
          <cx:pt idx="12751">402000</cx:pt>
          <cx:pt idx="12752">402000</cx:pt>
          <cx:pt idx="12753">401750</cx:pt>
          <cx:pt idx="12754">401500</cx:pt>
          <cx:pt idx="12755">401500</cx:pt>
          <cx:pt idx="12756">401500</cx:pt>
          <cx:pt idx="12757">401000</cx:pt>
          <cx:pt idx="12758">401000</cx:pt>
          <cx:pt idx="12759">401000</cx:pt>
          <cx:pt idx="12760">401000</cx:pt>
          <cx:pt idx="12761">401000</cx:pt>
          <cx:pt idx="12762">401000</cx:pt>
          <cx:pt idx="12763">401000</cx:pt>
          <cx:pt idx="12764">401000</cx:pt>
          <cx:pt idx="12765">401000</cx:pt>
          <cx:pt idx="12766">401000</cx:pt>
          <cx:pt idx="12767">401000</cx:pt>
          <cx:pt idx="12768">401000</cx:pt>
          <cx:pt idx="12769">400950</cx:pt>
          <cx:pt idx="12770">400950</cx:pt>
          <cx:pt idx="12771">400800</cx:pt>
          <cx:pt idx="12772">400375</cx:pt>
          <cx:pt idx="12773">400200</cx:pt>
          <cx:pt idx="12774">400000</cx:pt>
          <cx:pt idx="12775">400000</cx:pt>
          <cx:pt idx="12776">400000</cx:pt>
          <cx:pt idx="12777">400000</cx:pt>
          <cx:pt idx="12778">400000</cx:pt>
          <cx:pt idx="12779">400000</cx:pt>
          <cx:pt idx="12780">400000</cx:pt>
          <cx:pt idx="12781">400000</cx:pt>
          <cx:pt idx="12782">400000</cx:pt>
          <cx:pt idx="12783">400000</cx:pt>
          <cx:pt idx="12784">400000</cx:pt>
          <cx:pt idx="12785">400000</cx:pt>
          <cx:pt idx="12786">400000</cx:pt>
          <cx:pt idx="12787">400000</cx:pt>
          <cx:pt idx="12788">400000</cx:pt>
          <cx:pt idx="12789">400000</cx:pt>
          <cx:pt idx="12790">400000</cx:pt>
          <cx:pt idx="12791">400000</cx:pt>
          <cx:pt idx="12792">400000</cx:pt>
          <cx:pt idx="12793">400000</cx:pt>
          <cx:pt idx="12794">400000</cx:pt>
          <cx:pt idx="12795">400000</cx:pt>
          <cx:pt idx="12796">400000</cx:pt>
          <cx:pt idx="12797">400000</cx:pt>
          <cx:pt idx="12798">400000</cx:pt>
          <cx:pt idx="12799">400000</cx:pt>
          <cx:pt idx="12800">400000</cx:pt>
          <cx:pt idx="12801">400000</cx:pt>
          <cx:pt idx="12802">400000</cx:pt>
          <cx:pt idx="12803">400000</cx:pt>
          <cx:pt idx="12804">400000</cx:pt>
          <cx:pt idx="12805">400000</cx:pt>
          <cx:pt idx="12806">400000</cx:pt>
          <cx:pt idx="12807">400000</cx:pt>
          <cx:pt idx="12808">400000</cx:pt>
          <cx:pt idx="12809">400000</cx:pt>
          <cx:pt idx="12810">400000</cx:pt>
          <cx:pt idx="12811">400000</cx:pt>
          <cx:pt idx="12812">400000</cx:pt>
          <cx:pt idx="12813">400000</cx:pt>
          <cx:pt idx="12814">400000</cx:pt>
          <cx:pt idx="12815">400000</cx:pt>
          <cx:pt idx="12816">400000</cx:pt>
          <cx:pt idx="12817">400000</cx:pt>
          <cx:pt idx="12818">400000</cx:pt>
          <cx:pt idx="12819">400000</cx:pt>
          <cx:pt idx="12820">400000</cx:pt>
          <cx:pt idx="12821">400000</cx:pt>
          <cx:pt idx="12822">400000</cx:pt>
          <cx:pt idx="12823">400000</cx:pt>
          <cx:pt idx="12824">400000</cx:pt>
          <cx:pt idx="12825">400000</cx:pt>
          <cx:pt idx="12826">400000</cx:pt>
          <cx:pt idx="12827">400000</cx:pt>
          <cx:pt idx="12828">400000</cx:pt>
          <cx:pt idx="12829">400000</cx:pt>
          <cx:pt idx="12830">400000</cx:pt>
          <cx:pt idx="12831">400000</cx:pt>
          <cx:pt idx="12832">400000</cx:pt>
          <cx:pt idx="12833">400000</cx:pt>
          <cx:pt idx="12834">400000</cx:pt>
          <cx:pt idx="12835">400000</cx:pt>
          <cx:pt idx="12836">400000</cx:pt>
          <cx:pt idx="12837">400000</cx:pt>
          <cx:pt idx="12838">400000</cx:pt>
          <cx:pt idx="12839">400000</cx:pt>
          <cx:pt idx="12840">400000</cx:pt>
          <cx:pt idx="12841">400000</cx:pt>
          <cx:pt idx="12842">400000</cx:pt>
          <cx:pt idx="12843">400000</cx:pt>
          <cx:pt idx="12844">400000</cx:pt>
          <cx:pt idx="12845">400000</cx:pt>
          <cx:pt idx="12846">400000</cx:pt>
          <cx:pt idx="12847">400000</cx:pt>
          <cx:pt idx="12848">400000</cx:pt>
          <cx:pt idx="12849">400000</cx:pt>
          <cx:pt idx="12850">400000</cx:pt>
          <cx:pt idx="12851">400000</cx:pt>
          <cx:pt idx="12852">400000</cx:pt>
          <cx:pt idx="12853">400000</cx:pt>
          <cx:pt idx="12854">400000</cx:pt>
          <cx:pt idx="12855">400000</cx:pt>
          <cx:pt idx="12856">400000</cx:pt>
          <cx:pt idx="12857">400000</cx:pt>
          <cx:pt idx="12858">400000</cx:pt>
          <cx:pt idx="12859">400000</cx:pt>
          <cx:pt idx="12860">400000</cx:pt>
          <cx:pt idx="12861">400000</cx:pt>
          <cx:pt idx="12862">400000</cx:pt>
          <cx:pt idx="12863">400000</cx:pt>
          <cx:pt idx="12864">400000</cx:pt>
          <cx:pt idx="12865">400000</cx:pt>
          <cx:pt idx="12866">400000</cx:pt>
          <cx:pt idx="12867">400000</cx:pt>
          <cx:pt idx="12868">400000</cx:pt>
          <cx:pt idx="12869">400000</cx:pt>
          <cx:pt idx="12870">400000</cx:pt>
          <cx:pt idx="12871">400000</cx:pt>
          <cx:pt idx="12872">400000</cx:pt>
          <cx:pt idx="12873">400000</cx:pt>
          <cx:pt idx="12874">400000</cx:pt>
          <cx:pt idx="12875">400000</cx:pt>
          <cx:pt idx="12876">400000</cx:pt>
          <cx:pt idx="12877">400000</cx:pt>
          <cx:pt idx="12878">400000</cx:pt>
          <cx:pt idx="12879">400000</cx:pt>
          <cx:pt idx="12880">400000</cx:pt>
          <cx:pt idx="12881">400000</cx:pt>
          <cx:pt idx="12882">400000</cx:pt>
          <cx:pt idx="12883">400000</cx:pt>
          <cx:pt idx="12884">400000</cx:pt>
          <cx:pt idx="12885">400000</cx:pt>
          <cx:pt idx="12886">400000</cx:pt>
          <cx:pt idx="12887">400000</cx:pt>
          <cx:pt idx="12888">400000</cx:pt>
          <cx:pt idx="12889">400000</cx:pt>
          <cx:pt idx="12890">400000</cx:pt>
          <cx:pt idx="12891">400000</cx:pt>
          <cx:pt idx="12892">400000</cx:pt>
          <cx:pt idx="12893">400000</cx:pt>
          <cx:pt idx="12894">400000</cx:pt>
          <cx:pt idx="12895">400000</cx:pt>
          <cx:pt idx="12896">400000</cx:pt>
          <cx:pt idx="12897">400000</cx:pt>
          <cx:pt idx="12898">400000</cx:pt>
          <cx:pt idx="12899">400000</cx:pt>
          <cx:pt idx="12900">400000</cx:pt>
          <cx:pt idx="12901">400000</cx:pt>
          <cx:pt idx="12902">400000</cx:pt>
          <cx:pt idx="12903">400000</cx:pt>
          <cx:pt idx="12904">400000</cx:pt>
          <cx:pt idx="12905">400000</cx:pt>
          <cx:pt idx="12906">400000</cx:pt>
          <cx:pt idx="12907">400000</cx:pt>
          <cx:pt idx="12908">400000</cx:pt>
          <cx:pt idx="12909">400000</cx:pt>
          <cx:pt idx="12910">400000</cx:pt>
          <cx:pt idx="12911">400000</cx:pt>
          <cx:pt idx="12912">400000</cx:pt>
          <cx:pt idx="12913">400000</cx:pt>
          <cx:pt idx="12914">400000</cx:pt>
          <cx:pt idx="12915">400000</cx:pt>
          <cx:pt idx="12916">400000</cx:pt>
          <cx:pt idx="12917">400000</cx:pt>
          <cx:pt idx="12918">400000</cx:pt>
          <cx:pt idx="12919">399995</cx:pt>
          <cx:pt idx="12920">399990</cx:pt>
          <cx:pt idx="12921">399963</cx:pt>
          <cx:pt idx="12922">399950</cx:pt>
          <cx:pt idx="12923">399950</cx:pt>
          <cx:pt idx="12924">399950</cx:pt>
          <cx:pt idx="12925">399950</cx:pt>
          <cx:pt idx="12926">399950</cx:pt>
          <cx:pt idx="12927">399950</cx:pt>
          <cx:pt idx="12928">399950</cx:pt>
          <cx:pt idx="12929">399950</cx:pt>
          <cx:pt idx="12930">399950</cx:pt>
          <cx:pt idx="12931">399950</cx:pt>
          <cx:pt idx="12932">399950</cx:pt>
          <cx:pt idx="12933">399950</cx:pt>
          <cx:pt idx="12934">399950</cx:pt>
          <cx:pt idx="12935">399950</cx:pt>
          <cx:pt idx="12936">399950</cx:pt>
          <cx:pt idx="12937">399950</cx:pt>
          <cx:pt idx="12938">399950</cx:pt>
          <cx:pt idx="12939">399950</cx:pt>
          <cx:pt idx="12940">399950</cx:pt>
          <cx:pt idx="12941">399950</cx:pt>
          <cx:pt idx="12942">399950</cx:pt>
          <cx:pt idx="12943">399950</cx:pt>
          <cx:pt idx="12944">399950</cx:pt>
          <cx:pt idx="12945">399950</cx:pt>
          <cx:pt idx="12946">399950</cx:pt>
          <cx:pt idx="12947">399950</cx:pt>
          <cx:pt idx="12948">399950</cx:pt>
          <cx:pt idx="12949">399950</cx:pt>
          <cx:pt idx="12950">399950</cx:pt>
          <cx:pt idx="12951">399950</cx:pt>
          <cx:pt idx="12952">399950</cx:pt>
          <cx:pt idx="12953">399950</cx:pt>
          <cx:pt idx="12954">399950</cx:pt>
          <cx:pt idx="12955">399950</cx:pt>
          <cx:pt idx="12956">399950</cx:pt>
          <cx:pt idx="12957">399900</cx:pt>
          <cx:pt idx="12958">399900</cx:pt>
          <cx:pt idx="12959">399900</cx:pt>
          <cx:pt idx="12960">399900</cx:pt>
          <cx:pt idx="12961">399895</cx:pt>
          <cx:pt idx="12962">399888</cx:pt>
          <cx:pt idx="12963">399888</cx:pt>
          <cx:pt idx="12964">399700</cx:pt>
          <cx:pt idx="12965">399500</cx:pt>
          <cx:pt idx="12966">399500</cx:pt>
          <cx:pt idx="12967">399500</cx:pt>
          <cx:pt idx="12968">399500</cx:pt>
          <cx:pt idx="12969">399500</cx:pt>
          <cx:pt idx="12970">399500</cx:pt>
          <cx:pt idx="12971">399440</cx:pt>
          <cx:pt idx="12972">399000</cx:pt>
          <cx:pt idx="12973">399000</cx:pt>
          <cx:pt idx="12974">399000</cx:pt>
          <cx:pt idx="12975">399000</cx:pt>
          <cx:pt idx="12976">399000</cx:pt>
          <cx:pt idx="12977">399000</cx:pt>
          <cx:pt idx="12978">399000</cx:pt>
          <cx:pt idx="12979">399000</cx:pt>
          <cx:pt idx="12980">399000</cx:pt>
          <cx:pt idx="12981">399000</cx:pt>
          <cx:pt idx="12982">399000</cx:pt>
          <cx:pt idx="12983">399000</cx:pt>
          <cx:pt idx="12984">399000</cx:pt>
          <cx:pt idx="12985">399000</cx:pt>
          <cx:pt idx="12986">399000</cx:pt>
          <cx:pt idx="12987">399000</cx:pt>
          <cx:pt idx="12988">399000</cx:pt>
          <cx:pt idx="12989">399000</cx:pt>
          <cx:pt idx="12990">399000</cx:pt>
          <cx:pt idx="12991">399000</cx:pt>
          <cx:pt idx="12992">399000</cx:pt>
          <cx:pt idx="12993">399000</cx:pt>
          <cx:pt idx="12994">399000</cx:pt>
          <cx:pt idx="12995">399000</cx:pt>
          <cx:pt idx="12996">399000</cx:pt>
          <cx:pt idx="12997">399000</cx:pt>
          <cx:pt idx="12998">399000</cx:pt>
          <cx:pt idx="12999">399000</cx:pt>
          <cx:pt idx="13000">399000</cx:pt>
          <cx:pt idx="13001">398950</cx:pt>
          <cx:pt idx="13002">398750</cx:pt>
          <cx:pt idx="13003">398651</cx:pt>
          <cx:pt idx="13004">398500</cx:pt>
          <cx:pt idx="13005">398500</cx:pt>
          <cx:pt idx="13006">398500</cx:pt>
          <cx:pt idx="13007">398500</cx:pt>
          <cx:pt idx="13008">398500</cx:pt>
          <cx:pt idx="13009">398096</cx:pt>
          <cx:pt idx="13010">398000</cx:pt>
          <cx:pt idx="13011">398000</cx:pt>
          <cx:pt idx="13012">398000</cx:pt>
          <cx:pt idx="13013">398000</cx:pt>
          <cx:pt idx="13014">398000</cx:pt>
          <cx:pt idx="13015">398000</cx:pt>
          <cx:pt idx="13016">398000</cx:pt>
          <cx:pt idx="13017">398000</cx:pt>
          <cx:pt idx="13018">398000</cx:pt>
          <cx:pt idx="13019">398000</cx:pt>
          <cx:pt idx="13020">398000</cx:pt>
          <cx:pt idx="13021">398000</cx:pt>
          <cx:pt idx="13022">397990</cx:pt>
          <cx:pt idx="13023">397950</cx:pt>
          <cx:pt idx="13024">397950</cx:pt>
          <cx:pt idx="13025">397900</cx:pt>
          <cx:pt idx="13026">397500</cx:pt>
          <cx:pt idx="13027">397500</cx:pt>
          <cx:pt idx="13028">397500</cx:pt>
          <cx:pt idx="13029">397500</cx:pt>
          <cx:pt idx="13030">397500</cx:pt>
          <cx:pt idx="13031">397500</cx:pt>
          <cx:pt idx="13032">397500</cx:pt>
          <cx:pt idx="13033">397500</cx:pt>
          <cx:pt idx="13034">397500</cx:pt>
          <cx:pt idx="13035">397500</cx:pt>
          <cx:pt idx="13036">397500</cx:pt>
          <cx:pt idx="13037">397500</cx:pt>
          <cx:pt idx="13038">397500</cx:pt>
          <cx:pt idx="13039">397450</cx:pt>
          <cx:pt idx="13040">397380</cx:pt>
          <cx:pt idx="13041">397000</cx:pt>
          <cx:pt idx="13042">397000</cx:pt>
          <cx:pt idx="13043">397000</cx:pt>
          <cx:pt idx="13044">397000</cx:pt>
          <cx:pt idx="13045">397000</cx:pt>
          <cx:pt idx="13046">397000</cx:pt>
          <cx:pt idx="13047">397000</cx:pt>
          <cx:pt idx="13048">397000</cx:pt>
          <cx:pt idx="13049">397000</cx:pt>
          <cx:pt idx="13050">397000</cx:pt>
          <cx:pt idx="13051">397000</cx:pt>
          <cx:pt idx="13052">397000</cx:pt>
          <cx:pt idx="13053">397000</cx:pt>
          <cx:pt idx="13054">397000</cx:pt>
          <cx:pt idx="13055">397000</cx:pt>
          <cx:pt idx="13056">397000</cx:pt>
          <cx:pt idx="13057">396900</cx:pt>
          <cx:pt idx="13058">396800</cx:pt>
          <cx:pt idx="13059">396675</cx:pt>
          <cx:pt idx="13060">396500</cx:pt>
          <cx:pt idx="13061">396500</cx:pt>
          <cx:pt idx="13062">396500</cx:pt>
          <cx:pt idx="13063">396500</cx:pt>
          <cx:pt idx="13064">396480</cx:pt>
          <cx:pt idx="13065">396450</cx:pt>
          <cx:pt idx="13066">396400</cx:pt>
          <cx:pt idx="13067">396000</cx:pt>
          <cx:pt idx="13068">396000</cx:pt>
          <cx:pt idx="13069">396000</cx:pt>
          <cx:pt idx="13070">396000</cx:pt>
          <cx:pt idx="13071">396000</cx:pt>
          <cx:pt idx="13072">396000</cx:pt>
          <cx:pt idx="13073">396000</cx:pt>
          <cx:pt idx="13074">396000</cx:pt>
          <cx:pt idx="13075">396000</cx:pt>
          <cx:pt idx="13076">396000</cx:pt>
          <cx:pt idx="13077">396000</cx:pt>
          <cx:pt idx="13078">395950</cx:pt>
          <cx:pt idx="13079">395900</cx:pt>
          <cx:pt idx="13080">395825</cx:pt>
          <cx:pt idx="13081">395350</cx:pt>
          <cx:pt idx="13082">395300</cx:pt>
          <cx:pt idx="13083">395000</cx:pt>
          <cx:pt idx="13084">395000</cx:pt>
          <cx:pt idx="13085">395000</cx:pt>
          <cx:pt idx="13086">395000</cx:pt>
          <cx:pt idx="13087">395000</cx:pt>
          <cx:pt idx="13088">395000</cx:pt>
          <cx:pt idx="13089">395000</cx:pt>
          <cx:pt idx="13090">395000</cx:pt>
          <cx:pt idx="13091">395000</cx:pt>
          <cx:pt idx="13092">395000</cx:pt>
          <cx:pt idx="13093">395000</cx:pt>
          <cx:pt idx="13094">395000</cx:pt>
          <cx:pt idx="13095">395000</cx:pt>
          <cx:pt idx="13096">395000</cx:pt>
          <cx:pt idx="13097">395000</cx:pt>
          <cx:pt idx="13098">395000</cx:pt>
          <cx:pt idx="13099">395000</cx:pt>
          <cx:pt idx="13100">395000</cx:pt>
          <cx:pt idx="13101">395000</cx:pt>
          <cx:pt idx="13102">395000</cx:pt>
          <cx:pt idx="13103">395000</cx:pt>
          <cx:pt idx="13104">395000</cx:pt>
          <cx:pt idx="13105">395000</cx:pt>
          <cx:pt idx="13106">395000</cx:pt>
          <cx:pt idx="13107">395000</cx:pt>
          <cx:pt idx="13108">395000</cx:pt>
          <cx:pt idx="13109">395000</cx:pt>
          <cx:pt idx="13110">395000</cx:pt>
          <cx:pt idx="13111">395000</cx:pt>
          <cx:pt idx="13112">395000</cx:pt>
          <cx:pt idx="13113">395000</cx:pt>
          <cx:pt idx="13114">395000</cx:pt>
          <cx:pt idx="13115">395000</cx:pt>
          <cx:pt idx="13116">395000</cx:pt>
          <cx:pt idx="13117">395000</cx:pt>
          <cx:pt idx="13118">395000</cx:pt>
          <cx:pt idx="13119">395000</cx:pt>
          <cx:pt idx="13120">395000</cx:pt>
          <cx:pt idx="13121">395000</cx:pt>
          <cx:pt idx="13122">395000</cx:pt>
          <cx:pt idx="13123">395000</cx:pt>
          <cx:pt idx="13124">395000</cx:pt>
          <cx:pt idx="13125">395000</cx:pt>
          <cx:pt idx="13126">395000</cx:pt>
          <cx:pt idx="13127">395000</cx:pt>
          <cx:pt idx="13128">395000</cx:pt>
          <cx:pt idx="13129">395000</cx:pt>
          <cx:pt idx="13130">395000</cx:pt>
          <cx:pt idx="13131">395000</cx:pt>
          <cx:pt idx="13132">395000</cx:pt>
          <cx:pt idx="13133">395000</cx:pt>
          <cx:pt idx="13134">395000</cx:pt>
          <cx:pt idx="13135">395000</cx:pt>
          <cx:pt idx="13136">395000</cx:pt>
          <cx:pt idx="13137">395000</cx:pt>
          <cx:pt idx="13138">395000</cx:pt>
          <cx:pt idx="13139">395000</cx:pt>
          <cx:pt idx="13140">395000</cx:pt>
          <cx:pt idx="13141">395000</cx:pt>
          <cx:pt idx="13142">395000</cx:pt>
          <cx:pt idx="13143">395000</cx:pt>
          <cx:pt idx="13144">395000</cx:pt>
          <cx:pt idx="13145">395000</cx:pt>
          <cx:pt idx="13146">395000</cx:pt>
          <cx:pt idx="13147">395000</cx:pt>
          <cx:pt idx="13148">395000</cx:pt>
          <cx:pt idx="13149">395000</cx:pt>
          <cx:pt idx="13150">395000</cx:pt>
          <cx:pt idx="13151">395000</cx:pt>
          <cx:pt idx="13152">395000</cx:pt>
          <cx:pt idx="13153">395000</cx:pt>
          <cx:pt idx="13154">395000</cx:pt>
          <cx:pt idx="13155">394999</cx:pt>
          <cx:pt idx="13156">394950</cx:pt>
          <cx:pt idx="13157">394950</cx:pt>
          <cx:pt idx="13158">394950</cx:pt>
          <cx:pt idx="13159">394950</cx:pt>
          <cx:pt idx="13160">394950</cx:pt>
          <cx:pt idx="13161">394900</cx:pt>
          <cx:pt idx="13162">394500</cx:pt>
          <cx:pt idx="13163">394475</cx:pt>
          <cx:pt idx="13164">394250</cx:pt>
          <cx:pt idx="13165">394000</cx:pt>
          <cx:pt idx="13166">394000</cx:pt>
          <cx:pt idx="13167">394000</cx:pt>
          <cx:pt idx="13168">394000</cx:pt>
          <cx:pt idx="13169">394000</cx:pt>
          <cx:pt idx="13170">394000</cx:pt>
          <cx:pt idx="13171">394000</cx:pt>
          <cx:pt idx="13172">394000</cx:pt>
          <cx:pt idx="13173">393820</cx:pt>
          <cx:pt idx="13174">393500</cx:pt>
          <cx:pt idx="13175">393500</cx:pt>
          <cx:pt idx="13176">393000</cx:pt>
          <cx:pt idx="13177">393000</cx:pt>
          <cx:pt idx="13178">393000</cx:pt>
          <cx:pt idx="13179">393000</cx:pt>
          <cx:pt idx="13180">393000</cx:pt>
          <cx:pt idx="13181">393000</cx:pt>
          <cx:pt idx="13182">393000</cx:pt>
          <cx:pt idx="13183">393000</cx:pt>
          <cx:pt idx="13184">393000</cx:pt>
          <cx:pt idx="13185">393000</cx:pt>
          <cx:pt idx="13186">392800</cx:pt>
          <cx:pt idx="13187">392800</cx:pt>
          <cx:pt idx="13188">392500</cx:pt>
          <cx:pt idx="13189">392500</cx:pt>
          <cx:pt idx="13190">392500</cx:pt>
          <cx:pt idx="13191">392500</cx:pt>
          <cx:pt idx="13192">392500</cx:pt>
          <cx:pt idx="13193">392500</cx:pt>
          <cx:pt idx="13194">392500</cx:pt>
          <cx:pt idx="13195">392500</cx:pt>
          <cx:pt idx="13196">392500</cx:pt>
          <cx:pt idx="13197">392500</cx:pt>
          <cx:pt idx="13198">392450</cx:pt>
          <cx:pt idx="13199">392440</cx:pt>
          <cx:pt idx="13200">392400</cx:pt>
          <cx:pt idx="13201">392137</cx:pt>
          <cx:pt idx="13202">392000</cx:pt>
          <cx:pt idx="13203">392000</cx:pt>
          <cx:pt idx="13204">392000</cx:pt>
          <cx:pt idx="13205">392000</cx:pt>
          <cx:pt idx="13206">392000</cx:pt>
          <cx:pt idx="13207">392000</cx:pt>
          <cx:pt idx="13208">392000</cx:pt>
          <cx:pt idx="13209">392000</cx:pt>
          <cx:pt idx="13210">392000</cx:pt>
          <cx:pt idx="13211">392000</cx:pt>
          <cx:pt idx="13212">392000</cx:pt>
          <cx:pt idx="13213">392000</cx:pt>
          <cx:pt idx="13214">392000</cx:pt>
          <cx:pt idx="13215">392000</cx:pt>
          <cx:pt idx="13216">391500</cx:pt>
          <cx:pt idx="13217">391500</cx:pt>
          <cx:pt idx="13218">391500</cx:pt>
          <cx:pt idx="13219">391265</cx:pt>
          <cx:pt idx="13220">391000</cx:pt>
          <cx:pt idx="13221">391000</cx:pt>
          <cx:pt idx="13222">391000</cx:pt>
          <cx:pt idx="13223">391000</cx:pt>
          <cx:pt idx="13224">391000</cx:pt>
          <cx:pt idx="13225">390500</cx:pt>
          <cx:pt idx="13226">390500</cx:pt>
          <cx:pt idx="13227">390000</cx:pt>
          <cx:pt idx="13228">390000</cx:pt>
          <cx:pt idx="13229">390000</cx:pt>
          <cx:pt idx="13230">390000</cx:pt>
          <cx:pt idx="13231">390000</cx:pt>
          <cx:pt idx="13232">390000</cx:pt>
          <cx:pt idx="13233">390000</cx:pt>
          <cx:pt idx="13234">390000</cx:pt>
          <cx:pt idx="13235">390000</cx:pt>
          <cx:pt idx="13236">390000</cx:pt>
          <cx:pt idx="13237">390000</cx:pt>
          <cx:pt idx="13238">390000</cx:pt>
          <cx:pt idx="13239">390000</cx:pt>
          <cx:pt idx="13240">390000</cx:pt>
          <cx:pt idx="13241">390000</cx:pt>
          <cx:pt idx="13242">390000</cx:pt>
          <cx:pt idx="13243">390000</cx:pt>
          <cx:pt idx="13244">390000</cx:pt>
          <cx:pt idx="13245">390000</cx:pt>
          <cx:pt idx="13246">390000</cx:pt>
          <cx:pt idx="13247">390000</cx:pt>
          <cx:pt idx="13248">390000</cx:pt>
          <cx:pt idx="13249">390000</cx:pt>
          <cx:pt idx="13250">390000</cx:pt>
          <cx:pt idx="13251">390000</cx:pt>
          <cx:pt idx="13252">390000</cx:pt>
          <cx:pt idx="13253">390000</cx:pt>
          <cx:pt idx="13254">390000</cx:pt>
          <cx:pt idx="13255">390000</cx:pt>
          <cx:pt idx="13256">390000</cx:pt>
          <cx:pt idx="13257">390000</cx:pt>
          <cx:pt idx="13258">390000</cx:pt>
          <cx:pt idx="13259">390000</cx:pt>
          <cx:pt idx="13260">390000</cx:pt>
          <cx:pt idx="13261">390000</cx:pt>
          <cx:pt idx="13262">390000</cx:pt>
          <cx:pt idx="13263">390000</cx:pt>
          <cx:pt idx="13264">390000</cx:pt>
          <cx:pt idx="13265">390000</cx:pt>
          <cx:pt idx="13266">390000</cx:pt>
          <cx:pt idx="13267">390000</cx:pt>
          <cx:pt idx="13268">390000</cx:pt>
          <cx:pt idx="13269">390000</cx:pt>
          <cx:pt idx="13270">390000</cx:pt>
          <cx:pt idx="13271">390000</cx:pt>
          <cx:pt idx="13272">390000</cx:pt>
          <cx:pt idx="13273">390000</cx:pt>
          <cx:pt idx="13274">390000</cx:pt>
          <cx:pt idx="13275">390000</cx:pt>
          <cx:pt idx="13276">390000</cx:pt>
          <cx:pt idx="13277">390000</cx:pt>
          <cx:pt idx="13278">390000</cx:pt>
          <cx:pt idx="13279">390000</cx:pt>
          <cx:pt idx="13280">390000</cx:pt>
          <cx:pt idx="13281">390000</cx:pt>
          <cx:pt idx="13282">390000</cx:pt>
          <cx:pt idx="13283">390000</cx:pt>
          <cx:pt idx="13284">390000</cx:pt>
          <cx:pt idx="13285">390000</cx:pt>
          <cx:pt idx="13286">390000</cx:pt>
          <cx:pt idx="13287">390000</cx:pt>
          <cx:pt idx="13288">390000</cx:pt>
          <cx:pt idx="13289">390000</cx:pt>
          <cx:pt idx="13290">390000</cx:pt>
          <cx:pt idx="13291">390000</cx:pt>
          <cx:pt idx="13292">390000</cx:pt>
          <cx:pt idx="13293">390000</cx:pt>
          <cx:pt idx="13294">390000</cx:pt>
          <cx:pt idx="13295">390000</cx:pt>
          <cx:pt idx="13296">390000</cx:pt>
          <cx:pt idx="13297">390000</cx:pt>
          <cx:pt idx="13298">390000</cx:pt>
          <cx:pt idx="13299">390000</cx:pt>
          <cx:pt idx="13300">390000</cx:pt>
          <cx:pt idx="13301">390000</cx:pt>
          <cx:pt idx="13302">390000</cx:pt>
          <cx:pt idx="13303">390000</cx:pt>
          <cx:pt idx="13304">390000</cx:pt>
          <cx:pt idx="13305">390000</cx:pt>
          <cx:pt idx="13306">390000</cx:pt>
          <cx:pt idx="13307">390000</cx:pt>
          <cx:pt idx="13308">390000</cx:pt>
          <cx:pt idx="13309">390000</cx:pt>
          <cx:pt idx="13310">390000</cx:pt>
          <cx:pt idx="13311">390000</cx:pt>
          <cx:pt idx="13312">390000</cx:pt>
          <cx:pt idx="13313">390000</cx:pt>
          <cx:pt idx="13314">390000</cx:pt>
          <cx:pt idx="13315">390000</cx:pt>
          <cx:pt idx="13316">390000</cx:pt>
          <cx:pt idx="13317">390000</cx:pt>
          <cx:pt idx="13318">390000</cx:pt>
          <cx:pt idx="13319">390000</cx:pt>
          <cx:pt idx="13320">390000</cx:pt>
          <cx:pt idx="13321">390000</cx:pt>
          <cx:pt idx="13322">390000</cx:pt>
          <cx:pt idx="13323">390000</cx:pt>
          <cx:pt idx="13324">390000</cx:pt>
          <cx:pt idx="13325">390000</cx:pt>
          <cx:pt idx="13326">390000</cx:pt>
          <cx:pt idx="13327">390000</cx:pt>
          <cx:pt idx="13328">390000</cx:pt>
          <cx:pt idx="13329">390000</cx:pt>
          <cx:pt idx="13330">390000</cx:pt>
          <cx:pt idx="13331">390000</cx:pt>
          <cx:pt idx="13332">390000</cx:pt>
          <cx:pt idx="13333">390000</cx:pt>
          <cx:pt idx="13334">390000</cx:pt>
          <cx:pt idx="13335">390000</cx:pt>
          <cx:pt idx="13336">390000</cx:pt>
          <cx:pt idx="13337">389999</cx:pt>
          <cx:pt idx="13338">389999</cx:pt>
          <cx:pt idx="13339">389990</cx:pt>
          <cx:pt idx="13340">389950</cx:pt>
          <cx:pt idx="13341">389950</cx:pt>
          <cx:pt idx="13342">389950</cx:pt>
          <cx:pt idx="13343">389950</cx:pt>
          <cx:pt idx="13344">389950</cx:pt>
          <cx:pt idx="13345">389950</cx:pt>
          <cx:pt idx="13346">389950</cx:pt>
          <cx:pt idx="13347">389950</cx:pt>
          <cx:pt idx="13348">389900</cx:pt>
          <cx:pt idx="13349">389900</cx:pt>
          <cx:pt idx="13350">389800</cx:pt>
          <cx:pt idx="13351">389700</cx:pt>
          <cx:pt idx="13352">389517</cx:pt>
          <cx:pt idx="13353">389500</cx:pt>
          <cx:pt idx="13354">389500</cx:pt>
          <cx:pt idx="13355">389250</cx:pt>
          <cx:pt idx="13356">389100</cx:pt>
          <cx:pt idx="13357">389000</cx:pt>
          <cx:pt idx="13358">389000</cx:pt>
          <cx:pt idx="13359">389000</cx:pt>
          <cx:pt idx="13360">389000</cx:pt>
          <cx:pt idx="13361">389000</cx:pt>
          <cx:pt idx="13362">389000</cx:pt>
          <cx:pt idx="13363">389000</cx:pt>
          <cx:pt idx="13364">389000</cx:pt>
          <cx:pt idx="13365">389000</cx:pt>
          <cx:pt idx="13366">389000</cx:pt>
          <cx:pt idx="13367">389000</cx:pt>
          <cx:pt idx="13368">389000</cx:pt>
          <cx:pt idx="13369">389000</cx:pt>
          <cx:pt idx="13370">389000</cx:pt>
          <cx:pt idx="13371">389000</cx:pt>
          <cx:pt idx="13372">389000</cx:pt>
          <cx:pt idx="13373">389000</cx:pt>
          <cx:pt idx="13374">389000</cx:pt>
          <cx:pt idx="13375">389000</cx:pt>
          <cx:pt idx="13376">389000</cx:pt>
          <cx:pt idx="13377">389000</cx:pt>
          <cx:pt idx="13378">388598</cx:pt>
          <cx:pt idx="13379">388500</cx:pt>
          <cx:pt idx="13380">388500</cx:pt>
          <cx:pt idx="13381">388500</cx:pt>
          <cx:pt idx="13382">388000</cx:pt>
          <cx:pt idx="13383">388000</cx:pt>
          <cx:pt idx="13384">388000</cx:pt>
          <cx:pt idx="13385">388000</cx:pt>
          <cx:pt idx="13386">388000</cx:pt>
          <cx:pt idx="13387">388000</cx:pt>
          <cx:pt idx="13388">388000</cx:pt>
          <cx:pt idx="13389">388000</cx:pt>
          <cx:pt idx="13390">387990</cx:pt>
          <cx:pt idx="13391">387865</cx:pt>
          <cx:pt idx="13392">387846</cx:pt>
          <cx:pt idx="13393">387500</cx:pt>
          <cx:pt idx="13394">387500</cx:pt>
          <cx:pt idx="13395">387500</cx:pt>
          <cx:pt idx="13396">387500</cx:pt>
          <cx:pt idx="13397">387500</cx:pt>
          <cx:pt idx="13398">387500</cx:pt>
          <cx:pt idx="13399">387500</cx:pt>
          <cx:pt idx="13400">387500</cx:pt>
          <cx:pt idx="13401">387500</cx:pt>
          <cx:pt idx="13402">387000</cx:pt>
          <cx:pt idx="13403">387000</cx:pt>
          <cx:pt idx="13404">387000</cx:pt>
          <cx:pt idx="13405">387000</cx:pt>
          <cx:pt idx="13406">387000</cx:pt>
          <cx:pt idx="13407">387000</cx:pt>
          <cx:pt idx="13408">387000</cx:pt>
          <cx:pt idx="13409">387000</cx:pt>
          <cx:pt idx="13410">387000</cx:pt>
          <cx:pt idx="13411">387000</cx:pt>
          <cx:pt idx="13412">387000</cx:pt>
          <cx:pt idx="13413">386950</cx:pt>
          <cx:pt idx="13414">386900</cx:pt>
          <cx:pt idx="13415">386591</cx:pt>
          <cx:pt idx="13416">386500</cx:pt>
          <cx:pt idx="13417">386500</cx:pt>
          <cx:pt idx="13418">386500</cx:pt>
          <cx:pt idx="13419">386500</cx:pt>
          <cx:pt idx="13420">386500</cx:pt>
          <cx:pt idx="13421">386380</cx:pt>
          <cx:pt idx="13422">386180</cx:pt>
          <cx:pt idx="13423">386100</cx:pt>
          <cx:pt idx="13424">386000</cx:pt>
          <cx:pt idx="13425">386000</cx:pt>
          <cx:pt idx="13426">386000</cx:pt>
          <cx:pt idx="13427">386000</cx:pt>
          <cx:pt idx="13428">386000</cx:pt>
          <cx:pt idx="13429">386000</cx:pt>
          <cx:pt idx="13430">386000</cx:pt>
          <cx:pt idx="13431">386000</cx:pt>
          <cx:pt idx="13432">386000</cx:pt>
          <cx:pt idx="13433">386000</cx:pt>
          <cx:pt idx="13434">385500</cx:pt>
          <cx:pt idx="13435">385200</cx:pt>
          <cx:pt idx="13436">385195</cx:pt>
          <cx:pt idx="13437">385100</cx:pt>
          <cx:pt idx="13438">385000</cx:pt>
          <cx:pt idx="13439">385000</cx:pt>
          <cx:pt idx="13440">385000</cx:pt>
          <cx:pt idx="13441">385000</cx:pt>
          <cx:pt idx="13442">385000</cx:pt>
          <cx:pt idx="13443">385000</cx:pt>
          <cx:pt idx="13444">385000</cx:pt>
          <cx:pt idx="13445">385000</cx:pt>
          <cx:pt idx="13446">385000</cx:pt>
          <cx:pt idx="13447">385000</cx:pt>
          <cx:pt idx="13448">385000</cx:pt>
          <cx:pt idx="13449">385000</cx:pt>
          <cx:pt idx="13450">385000</cx:pt>
          <cx:pt idx="13451">385000</cx:pt>
          <cx:pt idx="13452">385000</cx:pt>
          <cx:pt idx="13453">385000</cx:pt>
          <cx:pt idx="13454">385000</cx:pt>
          <cx:pt idx="13455">385000</cx:pt>
          <cx:pt idx="13456">385000</cx:pt>
          <cx:pt idx="13457">385000</cx:pt>
          <cx:pt idx="13458">385000</cx:pt>
          <cx:pt idx="13459">385000</cx:pt>
          <cx:pt idx="13460">385000</cx:pt>
          <cx:pt idx="13461">385000</cx:pt>
          <cx:pt idx="13462">385000</cx:pt>
          <cx:pt idx="13463">385000</cx:pt>
          <cx:pt idx="13464">385000</cx:pt>
          <cx:pt idx="13465">385000</cx:pt>
          <cx:pt idx="13466">385000</cx:pt>
          <cx:pt idx="13467">385000</cx:pt>
          <cx:pt idx="13468">385000</cx:pt>
          <cx:pt idx="13469">385000</cx:pt>
          <cx:pt idx="13470">385000</cx:pt>
          <cx:pt idx="13471">385000</cx:pt>
          <cx:pt idx="13472">385000</cx:pt>
          <cx:pt idx="13473">385000</cx:pt>
          <cx:pt idx="13474">385000</cx:pt>
          <cx:pt idx="13475">385000</cx:pt>
          <cx:pt idx="13476">385000</cx:pt>
          <cx:pt idx="13477">385000</cx:pt>
          <cx:pt idx="13478">385000</cx:pt>
          <cx:pt idx="13479">385000</cx:pt>
          <cx:pt idx="13480">385000</cx:pt>
          <cx:pt idx="13481">385000</cx:pt>
          <cx:pt idx="13482">385000</cx:pt>
          <cx:pt idx="13483">385000</cx:pt>
          <cx:pt idx="13484">385000</cx:pt>
          <cx:pt idx="13485">385000</cx:pt>
          <cx:pt idx="13486">385000</cx:pt>
          <cx:pt idx="13487">385000</cx:pt>
          <cx:pt idx="13488">385000</cx:pt>
          <cx:pt idx="13489">385000</cx:pt>
          <cx:pt idx="13490">385000</cx:pt>
          <cx:pt idx="13491">385000</cx:pt>
          <cx:pt idx="13492">385000</cx:pt>
          <cx:pt idx="13493">385000</cx:pt>
          <cx:pt idx="13494">385000</cx:pt>
          <cx:pt idx="13495">385000</cx:pt>
          <cx:pt idx="13496">385000</cx:pt>
          <cx:pt idx="13497">385000</cx:pt>
          <cx:pt idx="13498">385000</cx:pt>
          <cx:pt idx="13499">385000</cx:pt>
          <cx:pt idx="13500">385000</cx:pt>
          <cx:pt idx="13501">385000</cx:pt>
          <cx:pt idx="13502">385000</cx:pt>
          <cx:pt idx="13503">385000</cx:pt>
          <cx:pt idx="13504">385000</cx:pt>
          <cx:pt idx="13505">385000</cx:pt>
          <cx:pt idx="13506">385000</cx:pt>
          <cx:pt idx="13507">385000</cx:pt>
          <cx:pt idx="13508">385000</cx:pt>
          <cx:pt idx="13509">385000</cx:pt>
          <cx:pt idx="13510">385000</cx:pt>
          <cx:pt idx="13511">385000</cx:pt>
          <cx:pt idx="13512">385000</cx:pt>
          <cx:pt idx="13513">385000</cx:pt>
          <cx:pt idx="13514">385000</cx:pt>
          <cx:pt idx="13515">385000</cx:pt>
          <cx:pt idx="13516">385000</cx:pt>
          <cx:pt idx="13517">385000</cx:pt>
          <cx:pt idx="13518">385000</cx:pt>
          <cx:pt idx="13519">385000</cx:pt>
          <cx:pt idx="13520">385000</cx:pt>
          <cx:pt idx="13521">385000</cx:pt>
          <cx:pt idx="13522">385000</cx:pt>
          <cx:pt idx="13523">385000</cx:pt>
          <cx:pt idx="13524">384950</cx:pt>
          <cx:pt idx="13525">384950</cx:pt>
          <cx:pt idx="13526">384950</cx:pt>
          <cx:pt idx="13527">384900</cx:pt>
          <cx:pt idx="13528">384500</cx:pt>
          <cx:pt idx="13529">384500</cx:pt>
          <cx:pt idx="13530">384435</cx:pt>
          <cx:pt idx="13531">384400</cx:pt>
          <cx:pt idx="13532">384205</cx:pt>
          <cx:pt idx="13533">384200</cx:pt>
          <cx:pt idx="13534">384000</cx:pt>
          <cx:pt idx="13535">384000</cx:pt>
          <cx:pt idx="13536">384000</cx:pt>
          <cx:pt idx="13537">384000</cx:pt>
          <cx:pt idx="13538">384000</cx:pt>
          <cx:pt idx="13539">384000</cx:pt>
          <cx:pt idx="13540">384000</cx:pt>
          <cx:pt idx="13541">383962</cx:pt>
          <cx:pt idx="13542">383900</cx:pt>
          <cx:pt idx="13543">383610</cx:pt>
          <cx:pt idx="13544">383150</cx:pt>
          <cx:pt idx="13545">383001</cx:pt>
          <cx:pt idx="13546">383000</cx:pt>
          <cx:pt idx="13547">383000</cx:pt>
          <cx:pt idx="13548">383000</cx:pt>
          <cx:pt idx="13549">383000</cx:pt>
          <cx:pt idx="13550">383000</cx:pt>
          <cx:pt idx="13551">383000</cx:pt>
          <cx:pt idx="13552">383000</cx:pt>
          <cx:pt idx="13553">383000</cx:pt>
          <cx:pt idx="13554">383000</cx:pt>
          <cx:pt idx="13555">383000</cx:pt>
          <cx:pt idx="13556">383000</cx:pt>
          <cx:pt idx="13557">383000</cx:pt>
          <cx:pt idx="13558">383000</cx:pt>
          <cx:pt idx="13559">383000</cx:pt>
          <cx:pt idx="13560">383000</cx:pt>
          <cx:pt idx="13561">383000</cx:pt>
          <cx:pt idx="13562">383000</cx:pt>
          <cx:pt idx="13563">382888</cx:pt>
          <cx:pt idx="13564">382880</cx:pt>
          <cx:pt idx="13565">382500</cx:pt>
          <cx:pt idx="13566">382500</cx:pt>
          <cx:pt idx="13567">382500</cx:pt>
          <cx:pt idx="13568">382500</cx:pt>
          <cx:pt idx="13569">382500</cx:pt>
          <cx:pt idx="13570">382500</cx:pt>
          <cx:pt idx="13571">382500</cx:pt>
          <cx:pt idx="13572">382495</cx:pt>
          <cx:pt idx="13573">382450</cx:pt>
          <cx:pt idx="13574">382000</cx:pt>
          <cx:pt idx="13575">382000</cx:pt>
          <cx:pt idx="13576">382000</cx:pt>
          <cx:pt idx="13577">382000</cx:pt>
          <cx:pt idx="13578">382000</cx:pt>
          <cx:pt idx="13579">382000</cx:pt>
          <cx:pt idx="13580">382000</cx:pt>
          <cx:pt idx="13581">382000</cx:pt>
          <cx:pt idx="13582">382000</cx:pt>
          <cx:pt idx="13583">382000</cx:pt>
          <cx:pt idx="13584">382000</cx:pt>
          <cx:pt idx="13585">382000</cx:pt>
          <cx:pt idx="13586">382000</cx:pt>
          <cx:pt idx="13587">381800</cx:pt>
          <cx:pt idx="13588">381500</cx:pt>
          <cx:pt idx="13589">381500</cx:pt>
          <cx:pt idx="13590">381500</cx:pt>
          <cx:pt idx="13591">381156</cx:pt>
          <cx:pt idx="13592">381000</cx:pt>
          <cx:pt idx="13593">381000</cx:pt>
          <cx:pt idx="13594">381000</cx:pt>
          <cx:pt idx="13595">381000</cx:pt>
          <cx:pt idx="13596">381000</cx:pt>
          <cx:pt idx="13597">381000</cx:pt>
          <cx:pt idx="13598">381000</cx:pt>
          <cx:pt idx="13599">381000</cx:pt>
          <cx:pt idx="13600">381000</cx:pt>
          <cx:pt idx="13601">381000</cx:pt>
          <cx:pt idx="13602">380950</cx:pt>
          <cx:pt idx="13603">380950</cx:pt>
          <cx:pt idx="13604">380600</cx:pt>
          <cx:pt idx="13605">380500</cx:pt>
          <cx:pt idx="13606">380500</cx:pt>
          <cx:pt idx="13607">380500</cx:pt>
          <cx:pt idx="13608">380000</cx:pt>
          <cx:pt idx="13609">380000</cx:pt>
          <cx:pt idx="13610">380000</cx:pt>
          <cx:pt idx="13611">380000</cx:pt>
          <cx:pt idx="13612">380000</cx:pt>
          <cx:pt idx="13613">380000</cx:pt>
          <cx:pt idx="13614">380000</cx:pt>
          <cx:pt idx="13615">380000</cx:pt>
          <cx:pt idx="13616">380000</cx:pt>
          <cx:pt idx="13617">380000</cx:pt>
          <cx:pt idx="13618">380000</cx:pt>
          <cx:pt idx="13619">380000</cx:pt>
          <cx:pt idx="13620">380000</cx:pt>
          <cx:pt idx="13621">380000</cx:pt>
          <cx:pt idx="13622">380000</cx:pt>
          <cx:pt idx="13623">380000</cx:pt>
          <cx:pt idx="13624">380000</cx:pt>
          <cx:pt idx="13625">380000</cx:pt>
          <cx:pt idx="13626">380000</cx:pt>
          <cx:pt idx="13627">380000</cx:pt>
          <cx:pt idx="13628">380000</cx:pt>
          <cx:pt idx="13629">380000</cx:pt>
          <cx:pt idx="13630">380000</cx:pt>
          <cx:pt idx="13631">380000</cx:pt>
          <cx:pt idx="13632">380000</cx:pt>
          <cx:pt idx="13633">380000</cx:pt>
          <cx:pt idx="13634">380000</cx:pt>
          <cx:pt idx="13635">380000</cx:pt>
          <cx:pt idx="13636">380000</cx:pt>
          <cx:pt idx="13637">380000</cx:pt>
          <cx:pt idx="13638">380000</cx:pt>
          <cx:pt idx="13639">380000</cx:pt>
          <cx:pt idx="13640">380000</cx:pt>
          <cx:pt idx="13641">380000</cx:pt>
          <cx:pt idx="13642">380000</cx:pt>
          <cx:pt idx="13643">380000</cx:pt>
          <cx:pt idx="13644">380000</cx:pt>
          <cx:pt idx="13645">380000</cx:pt>
          <cx:pt idx="13646">380000</cx:pt>
          <cx:pt idx="13647">380000</cx:pt>
          <cx:pt idx="13648">380000</cx:pt>
          <cx:pt idx="13649">380000</cx:pt>
          <cx:pt idx="13650">380000</cx:pt>
          <cx:pt idx="13651">380000</cx:pt>
          <cx:pt idx="13652">380000</cx:pt>
          <cx:pt idx="13653">380000</cx:pt>
          <cx:pt idx="13654">380000</cx:pt>
          <cx:pt idx="13655">380000</cx:pt>
          <cx:pt idx="13656">380000</cx:pt>
          <cx:pt idx="13657">380000</cx:pt>
          <cx:pt idx="13658">380000</cx:pt>
          <cx:pt idx="13659">380000</cx:pt>
          <cx:pt idx="13660">380000</cx:pt>
          <cx:pt idx="13661">380000</cx:pt>
          <cx:pt idx="13662">380000</cx:pt>
          <cx:pt idx="13663">380000</cx:pt>
          <cx:pt idx="13664">380000</cx:pt>
          <cx:pt idx="13665">380000</cx:pt>
          <cx:pt idx="13666">380000</cx:pt>
          <cx:pt idx="13667">380000</cx:pt>
          <cx:pt idx="13668">380000</cx:pt>
          <cx:pt idx="13669">380000</cx:pt>
          <cx:pt idx="13670">380000</cx:pt>
          <cx:pt idx="13671">380000</cx:pt>
          <cx:pt idx="13672">380000</cx:pt>
          <cx:pt idx="13673">380000</cx:pt>
          <cx:pt idx="13674">380000</cx:pt>
          <cx:pt idx="13675">380000</cx:pt>
          <cx:pt idx="13676">380000</cx:pt>
          <cx:pt idx="13677">380000</cx:pt>
          <cx:pt idx="13678">380000</cx:pt>
          <cx:pt idx="13679">380000</cx:pt>
          <cx:pt idx="13680">380000</cx:pt>
          <cx:pt idx="13681">380000</cx:pt>
          <cx:pt idx="13682">380000</cx:pt>
          <cx:pt idx="13683">380000</cx:pt>
          <cx:pt idx="13684">380000</cx:pt>
          <cx:pt idx="13685">380000</cx:pt>
          <cx:pt idx="13686">380000</cx:pt>
          <cx:pt idx="13687">380000</cx:pt>
          <cx:pt idx="13688">380000</cx:pt>
          <cx:pt idx="13689">380000</cx:pt>
          <cx:pt idx="13690">380000</cx:pt>
          <cx:pt idx="13691">380000</cx:pt>
          <cx:pt idx="13692">380000</cx:pt>
          <cx:pt idx="13693">380000</cx:pt>
          <cx:pt idx="13694">380000</cx:pt>
          <cx:pt idx="13695">380000</cx:pt>
          <cx:pt idx="13696">380000</cx:pt>
          <cx:pt idx="13697">380000</cx:pt>
          <cx:pt idx="13698">380000</cx:pt>
          <cx:pt idx="13699">380000</cx:pt>
          <cx:pt idx="13700">380000</cx:pt>
          <cx:pt idx="13701">379950</cx:pt>
          <cx:pt idx="13702">379950</cx:pt>
          <cx:pt idx="13703">379950</cx:pt>
          <cx:pt idx="13704">379950</cx:pt>
          <cx:pt idx="13705">379950</cx:pt>
          <cx:pt idx="13706">379950</cx:pt>
          <cx:pt idx="13707">379950</cx:pt>
          <cx:pt idx="13708">379950</cx:pt>
          <cx:pt idx="13709">379950</cx:pt>
          <cx:pt idx="13710">379950</cx:pt>
          <cx:pt idx="13711">379900</cx:pt>
          <cx:pt idx="13712">379900</cx:pt>
          <cx:pt idx="13713">379900</cx:pt>
          <cx:pt idx="13714">379900</cx:pt>
          <cx:pt idx="13715">379900</cx:pt>
          <cx:pt idx="13716">379900</cx:pt>
          <cx:pt idx="13717">379900</cx:pt>
          <cx:pt idx="13718">379900</cx:pt>
          <cx:pt idx="13719">379900</cx:pt>
          <cx:pt idx="13720">379880</cx:pt>
          <cx:pt idx="13721">379770</cx:pt>
          <cx:pt idx="13722">379750</cx:pt>
          <cx:pt idx="13723">379600</cx:pt>
          <cx:pt idx="13724">379500</cx:pt>
          <cx:pt idx="13725">379500</cx:pt>
          <cx:pt idx="13726">379500</cx:pt>
          <cx:pt idx="13727">379500</cx:pt>
          <cx:pt idx="13728">379500</cx:pt>
          <cx:pt idx="13729">379500</cx:pt>
          <cx:pt idx="13730">379500</cx:pt>
          <cx:pt idx="13731">379500</cx:pt>
          <cx:pt idx="13732">379400</cx:pt>
          <cx:pt idx="13733">379260</cx:pt>
          <cx:pt idx="13734">379000</cx:pt>
          <cx:pt idx="13735">379000</cx:pt>
          <cx:pt idx="13736">379000</cx:pt>
          <cx:pt idx="13737">379000</cx:pt>
          <cx:pt idx="13738">379000</cx:pt>
          <cx:pt idx="13739">379000</cx:pt>
          <cx:pt idx="13740">379000</cx:pt>
          <cx:pt idx="13741">379000</cx:pt>
          <cx:pt idx="13742">379000</cx:pt>
          <cx:pt idx="13743">379000</cx:pt>
          <cx:pt idx="13744">379000</cx:pt>
          <cx:pt idx="13745">379000</cx:pt>
          <cx:pt idx="13746">379000</cx:pt>
          <cx:pt idx="13747">379000</cx:pt>
          <cx:pt idx="13748">379000</cx:pt>
          <cx:pt idx="13749">379000</cx:pt>
          <cx:pt idx="13750">379000</cx:pt>
          <cx:pt idx="13751">378950</cx:pt>
          <cx:pt idx="13752">378950</cx:pt>
          <cx:pt idx="13753">378800</cx:pt>
          <cx:pt idx="13754">378750</cx:pt>
          <cx:pt idx="13755">378510</cx:pt>
          <cx:pt idx="13756">378500</cx:pt>
          <cx:pt idx="13757">378500</cx:pt>
          <cx:pt idx="13758">378500</cx:pt>
          <cx:pt idx="13759">378500</cx:pt>
          <cx:pt idx="13760">378500</cx:pt>
          <cx:pt idx="13761">378000</cx:pt>
          <cx:pt idx="13762">378000</cx:pt>
          <cx:pt idx="13763">378000</cx:pt>
          <cx:pt idx="13764">378000</cx:pt>
          <cx:pt idx="13765">378000</cx:pt>
          <cx:pt idx="13766">378000</cx:pt>
          <cx:pt idx="13767">378000</cx:pt>
          <cx:pt idx="13768">378000</cx:pt>
          <cx:pt idx="13769">378000</cx:pt>
          <cx:pt idx="13770">378000</cx:pt>
          <cx:pt idx="13771">378000</cx:pt>
          <cx:pt idx="13772">378000</cx:pt>
          <cx:pt idx="13773">378000</cx:pt>
          <cx:pt idx="13774">378000</cx:pt>
          <cx:pt idx="13775">378000</cx:pt>
          <cx:pt idx="13776">378000</cx:pt>
          <cx:pt idx="13777">377691</cx:pt>
          <cx:pt idx="13778">377500</cx:pt>
          <cx:pt idx="13779">377500</cx:pt>
          <cx:pt idx="13780">377500</cx:pt>
          <cx:pt idx="13781">377500</cx:pt>
          <cx:pt idx="13782">377500</cx:pt>
          <cx:pt idx="13783">377000</cx:pt>
          <cx:pt idx="13784">377000</cx:pt>
          <cx:pt idx="13785">377000</cx:pt>
          <cx:pt idx="13786">377000</cx:pt>
          <cx:pt idx="13787">377000</cx:pt>
          <cx:pt idx="13788">377000</cx:pt>
          <cx:pt idx="13789">377000</cx:pt>
          <cx:pt idx="13790">377000</cx:pt>
          <cx:pt idx="13791">376950</cx:pt>
          <cx:pt idx="13792">376500</cx:pt>
          <cx:pt idx="13793">376000</cx:pt>
          <cx:pt idx="13794">376000</cx:pt>
          <cx:pt idx="13795">376000</cx:pt>
          <cx:pt idx="13796">376000</cx:pt>
          <cx:pt idx="13797">376000</cx:pt>
          <cx:pt idx="13798">376000</cx:pt>
          <cx:pt idx="13799">376000</cx:pt>
          <cx:pt idx="13800">376000</cx:pt>
          <cx:pt idx="13801">376000</cx:pt>
          <cx:pt idx="13802">375950</cx:pt>
          <cx:pt idx="13803">375900</cx:pt>
          <cx:pt idx="13804">375900</cx:pt>
          <cx:pt idx="13805">375500</cx:pt>
          <cx:pt idx="13806">375500</cx:pt>
          <cx:pt idx="13807">375000</cx:pt>
          <cx:pt idx="13808">375000</cx:pt>
          <cx:pt idx="13809">375000</cx:pt>
          <cx:pt idx="13810">375000</cx:pt>
          <cx:pt idx="13811">375000</cx:pt>
          <cx:pt idx="13812">375000</cx:pt>
          <cx:pt idx="13813">375000</cx:pt>
          <cx:pt idx="13814">375000</cx:pt>
          <cx:pt idx="13815">375000</cx:pt>
          <cx:pt idx="13816">375000</cx:pt>
          <cx:pt idx="13817">375000</cx:pt>
          <cx:pt idx="13818">375000</cx:pt>
          <cx:pt idx="13819">375000</cx:pt>
          <cx:pt idx="13820">375000</cx:pt>
          <cx:pt idx="13821">375000</cx:pt>
          <cx:pt idx="13822">375000</cx:pt>
          <cx:pt idx="13823">375000</cx:pt>
          <cx:pt idx="13824">375000</cx:pt>
          <cx:pt idx="13825">375000</cx:pt>
          <cx:pt idx="13826">375000</cx:pt>
          <cx:pt idx="13827">375000</cx:pt>
          <cx:pt idx="13828">375000</cx:pt>
          <cx:pt idx="13829">375000</cx:pt>
          <cx:pt idx="13830">375000</cx:pt>
          <cx:pt idx="13831">375000</cx:pt>
          <cx:pt idx="13832">375000</cx:pt>
          <cx:pt idx="13833">375000</cx:pt>
          <cx:pt idx="13834">375000</cx:pt>
          <cx:pt idx="13835">375000</cx:pt>
          <cx:pt idx="13836">375000</cx:pt>
          <cx:pt idx="13837">375000</cx:pt>
          <cx:pt idx="13838">375000</cx:pt>
          <cx:pt idx="13839">375000</cx:pt>
          <cx:pt idx="13840">375000</cx:pt>
          <cx:pt idx="13841">375000</cx:pt>
          <cx:pt idx="13842">375000</cx:pt>
          <cx:pt idx="13843">375000</cx:pt>
          <cx:pt idx="13844">375000</cx:pt>
          <cx:pt idx="13845">375000</cx:pt>
          <cx:pt idx="13846">375000</cx:pt>
          <cx:pt idx="13847">375000</cx:pt>
          <cx:pt idx="13848">375000</cx:pt>
          <cx:pt idx="13849">375000</cx:pt>
          <cx:pt idx="13850">375000</cx:pt>
          <cx:pt idx="13851">375000</cx:pt>
          <cx:pt idx="13852">375000</cx:pt>
          <cx:pt idx="13853">375000</cx:pt>
          <cx:pt idx="13854">375000</cx:pt>
          <cx:pt idx="13855">375000</cx:pt>
          <cx:pt idx="13856">375000</cx:pt>
          <cx:pt idx="13857">375000</cx:pt>
          <cx:pt idx="13858">375000</cx:pt>
          <cx:pt idx="13859">375000</cx:pt>
          <cx:pt idx="13860">375000</cx:pt>
          <cx:pt idx="13861">375000</cx:pt>
          <cx:pt idx="13862">375000</cx:pt>
          <cx:pt idx="13863">375000</cx:pt>
          <cx:pt idx="13864">375000</cx:pt>
          <cx:pt idx="13865">375000</cx:pt>
          <cx:pt idx="13866">375000</cx:pt>
          <cx:pt idx="13867">375000</cx:pt>
          <cx:pt idx="13868">375000</cx:pt>
          <cx:pt idx="13869">375000</cx:pt>
          <cx:pt idx="13870">375000</cx:pt>
          <cx:pt idx="13871">375000</cx:pt>
          <cx:pt idx="13872">375000</cx:pt>
          <cx:pt idx="13873">375000</cx:pt>
          <cx:pt idx="13874">375000</cx:pt>
          <cx:pt idx="13875">375000</cx:pt>
          <cx:pt idx="13876">375000</cx:pt>
          <cx:pt idx="13877">375000</cx:pt>
          <cx:pt idx="13878">375000</cx:pt>
          <cx:pt idx="13879">375000</cx:pt>
          <cx:pt idx="13880">375000</cx:pt>
          <cx:pt idx="13881">375000</cx:pt>
          <cx:pt idx="13882">375000</cx:pt>
          <cx:pt idx="13883">375000</cx:pt>
          <cx:pt idx="13884">375000</cx:pt>
          <cx:pt idx="13885">375000</cx:pt>
          <cx:pt idx="13886">375000</cx:pt>
          <cx:pt idx="13887">375000</cx:pt>
          <cx:pt idx="13888">375000</cx:pt>
          <cx:pt idx="13889">375000</cx:pt>
          <cx:pt idx="13890">375000</cx:pt>
          <cx:pt idx="13891">375000</cx:pt>
          <cx:pt idx="13892">375000</cx:pt>
          <cx:pt idx="13893">375000</cx:pt>
          <cx:pt idx="13894">375000</cx:pt>
          <cx:pt idx="13895">375000</cx:pt>
          <cx:pt idx="13896">375000</cx:pt>
          <cx:pt idx="13897">375000</cx:pt>
          <cx:pt idx="13898">375000</cx:pt>
          <cx:pt idx="13899">375000</cx:pt>
          <cx:pt idx="13900">375000</cx:pt>
          <cx:pt idx="13901">375000</cx:pt>
          <cx:pt idx="13902">375000</cx:pt>
          <cx:pt idx="13903">375000</cx:pt>
          <cx:pt idx="13904">375000</cx:pt>
          <cx:pt idx="13905">375000</cx:pt>
          <cx:pt idx="13906">375000</cx:pt>
          <cx:pt idx="13907">375000</cx:pt>
          <cx:pt idx="13908">375000</cx:pt>
          <cx:pt idx="13909">375000</cx:pt>
          <cx:pt idx="13910">375000</cx:pt>
          <cx:pt idx="13911">375000</cx:pt>
          <cx:pt idx="13912">375000</cx:pt>
          <cx:pt idx="13913">375000</cx:pt>
          <cx:pt idx="13914">375000</cx:pt>
          <cx:pt idx="13915">375000</cx:pt>
          <cx:pt idx="13916">375000</cx:pt>
          <cx:pt idx="13917">375000</cx:pt>
          <cx:pt idx="13918">375000</cx:pt>
          <cx:pt idx="13919">375000</cx:pt>
          <cx:pt idx="13920">375000</cx:pt>
          <cx:pt idx="13921">375000</cx:pt>
          <cx:pt idx="13922">375000</cx:pt>
          <cx:pt idx="13923">375000</cx:pt>
          <cx:pt idx="13924">375000</cx:pt>
          <cx:pt idx="13925">375000</cx:pt>
          <cx:pt idx="13926">375000</cx:pt>
          <cx:pt idx="13927">375000</cx:pt>
          <cx:pt idx="13928">375000</cx:pt>
          <cx:pt idx="13929">375000</cx:pt>
          <cx:pt idx="13930">375000</cx:pt>
          <cx:pt idx="13931">375000</cx:pt>
          <cx:pt idx="13932">375000</cx:pt>
          <cx:pt idx="13933">375000</cx:pt>
          <cx:pt idx="13934">375000</cx:pt>
          <cx:pt idx="13935">375000</cx:pt>
          <cx:pt idx="13936">375000</cx:pt>
          <cx:pt idx="13937">375000</cx:pt>
          <cx:pt idx="13938">375000</cx:pt>
          <cx:pt idx="13939">375000</cx:pt>
          <cx:pt idx="13940">375000</cx:pt>
          <cx:pt idx="13941">375000</cx:pt>
          <cx:pt idx="13942">375000</cx:pt>
          <cx:pt idx="13943">375000</cx:pt>
          <cx:pt idx="13944">375000</cx:pt>
          <cx:pt idx="13945">374990</cx:pt>
          <cx:pt idx="13946">374950</cx:pt>
          <cx:pt idx="13947">374950</cx:pt>
          <cx:pt idx="13948">374950</cx:pt>
          <cx:pt idx="13949">374950</cx:pt>
          <cx:pt idx="13950">374950</cx:pt>
          <cx:pt idx="13951">374950</cx:pt>
          <cx:pt idx="13952">374950</cx:pt>
          <cx:pt idx="13953">374950</cx:pt>
          <cx:pt idx="13954">374950</cx:pt>
          <cx:pt idx="13955">374950</cx:pt>
          <cx:pt idx="13956">374950</cx:pt>
          <cx:pt idx="13957">374900</cx:pt>
          <cx:pt idx="13958">374900</cx:pt>
          <cx:pt idx="13959">374500</cx:pt>
          <cx:pt idx="13960">374500</cx:pt>
          <cx:pt idx="13961">374500</cx:pt>
          <cx:pt idx="13962">374500</cx:pt>
          <cx:pt idx="13963">374150</cx:pt>
          <cx:pt idx="13964">374000</cx:pt>
          <cx:pt idx="13965">374000</cx:pt>
          <cx:pt idx="13966">374000</cx:pt>
          <cx:pt idx="13967">374000</cx:pt>
          <cx:pt idx="13968">374000</cx:pt>
          <cx:pt idx="13969">374000</cx:pt>
          <cx:pt idx="13970">374000</cx:pt>
          <cx:pt idx="13971">374000</cx:pt>
          <cx:pt idx="13972">374000</cx:pt>
          <cx:pt idx="13973">374000</cx:pt>
          <cx:pt idx="13974">374000</cx:pt>
          <cx:pt idx="13975">373500</cx:pt>
          <cx:pt idx="13976">373500</cx:pt>
          <cx:pt idx="13977">373000</cx:pt>
          <cx:pt idx="13978">373000</cx:pt>
          <cx:pt idx="13979">373000</cx:pt>
          <cx:pt idx="13980">373000</cx:pt>
          <cx:pt idx="13981">373000</cx:pt>
          <cx:pt idx="13982">373000</cx:pt>
          <cx:pt idx="13983">373000</cx:pt>
          <cx:pt idx="13984">373000</cx:pt>
          <cx:pt idx="13985">373000</cx:pt>
          <cx:pt idx="13986">373000</cx:pt>
          <cx:pt idx="13987">373000</cx:pt>
          <cx:pt idx="13988">372977</cx:pt>
          <cx:pt idx="13989">372500</cx:pt>
          <cx:pt idx="13990">372500</cx:pt>
          <cx:pt idx="13991">372500</cx:pt>
          <cx:pt idx="13992">372500</cx:pt>
          <cx:pt idx="13993">372500</cx:pt>
          <cx:pt idx="13994">372500</cx:pt>
          <cx:pt idx="13995">372500</cx:pt>
          <cx:pt idx="13996">372500</cx:pt>
          <cx:pt idx="13997">372400</cx:pt>
          <cx:pt idx="13998">372220</cx:pt>
          <cx:pt idx="13999">372000</cx:pt>
          <cx:pt idx="14000">372000</cx:pt>
          <cx:pt idx="14001">372000</cx:pt>
          <cx:pt idx="14002">372000</cx:pt>
          <cx:pt idx="14003">372000</cx:pt>
          <cx:pt idx="14004">372000</cx:pt>
          <cx:pt idx="14005">372000</cx:pt>
          <cx:pt idx="14006">372000</cx:pt>
          <cx:pt idx="14007">372000</cx:pt>
          <cx:pt idx="14008">372000</cx:pt>
          <cx:pt idx="14009">372000</cx:pt>
          <cx:pt idx="14010">372000</cx:pt>
          <cx:pt idx="14011">372000</cx:pt>
          <cx:pt idx="14012">372000</cx:pt>
          <cx:pt idx="14013">372000</cx:pt>
          <cx:pt idx="14014">371500</cx:pt>
          <cx:pt idx="14015">371500</cx:pt>
          <cx:pt idx="14016">371025</cx:pt>
          <cx:pt idx="14017">371000</cx:pt>
          <cx:pt idx="14018">371000</cx:pt>
          <cx:pt idx="14019">371000</cx:pt>
          <cx:pt idx="14020">371000</cx:pt>
          <cx:pt idx="14021">371000</cx:pt>
          <cx:pt idx="14022">371000</cx:pt>
          <cx:pt idx="14023">371000</cx:pt>
          <cx:pt idx="14024">371000</cx:pt>
          <cx:pt idx="14025">371000</cx:pt>
          <cx:pt idx="14026">371000</cx:pt>
          <cx:pt idx="14027">370950</cx:pt>
          <cx:pt idx="14028">370900</cx:pt>
          <cx:pt idx="14029">370500</cx:pt>
          <cx:pt idx="14030">370350</cx:pt>
          <cx:pt idx="14031">370228</cx:pt>
          <cx:pt idx="14032">370037</cx:pt>
          <cx:pt idx="14033">370000</cx:pt>
          <cx:pt idx="14034">370000</cx:pt>
          <cx:pt idx="14035">370000</cx:pt>
          <cx:pt idx="14036">370000</cx:pt>
          <cx:pt idx="14037">370000</cx:pt>
          <cx:pt idx="14038">370000</cx:pt>
          <cx:pt idx="14039">370000</cx:pt>
          <cx:pt idx="14040">370000</cx:pt>
          <cx:pt idx="14041">370000</cx:pt>
          <cx:pt idx="14042">370000</cx:pt>
          <cx:pt idx="14043">370000</cx:pt>
          <cx:pt idx="14044">370000</cx:pt>
          <cx:pt idx="14045">370000</cx:pt>
          <cx:pt idx="14046">370000</cx:pt>
          <cx:pt idx="14047">370000</cx:pt>
          <cx:pt idx="14048">370000</cx:pt>
          <cx:pt idx="14049">370000</cx:pt>
          <cx:pt idx="14050">370000</cx:pt>
          <cx:pt idx="14051">370000</cx:pt>
          <cx:pt idx="14052">370000</cx:pt>
          <cx:pt idx="14053">370000</cx:pt>
          <cx:pt idx="14054">370000</cx:pt>
          <cx:pt idx="14055">370000</cx:pt>
          <cx:pt idx="14056">370000</cx:pt>
          <cx:pt idx="14057">370000</cx:pt>
          <cx:pt idx="14058">370000</cx:pt>
          <cx:pt idx="14059">370000</cx:pt>
          <cx:pt idx="14060">370000</cx:pt>
          <cx:pt idx="14061">370000</cx:pt>
          <cx:pt idx="14062">370000</cx:pt>
          <cx:pt idx="14063">370000</cx:pt>
          <cx:pt idx="14064">370000</cx:pt>
          <cx:pt idx="14065">370000</cx:pt>
          <cx:pt idx="14066">370000</cx:pt>
          <cx:pt idx="14067">370000</cx:pt>
          <cx:pt idx="14068">370000</cx:pt>
          <cx:pt idx="14069">370000</cx:pt>
          <cx:pt idx="14070">370000</cx:pt>
          <cx:pt idx="14071">370000</cx:pt>
          <cx:pt idx="14072">370000</cx:pt>
          <cx:pt idx="14073">370000</cx:pt>
          <cx:pt idx="14074">370000</cx:pt>
          <cx:pt idx="14075">370000</cx:pt>
          <cx:pt idx="14076">370000</cx:pt>
          <cx:pt idx="14077">370000</cx:pt>
          <cx:pt idx="14078">370000</cx:pt>
          <cx:pt idx="14079">370000</cx:pt>
          <cx:pt idx="14080">370000</cx:pt>
          <cx:pt idx="14081">370000</cx:pt>
          <cx:pt idx="14082">370000</cx:pt>
          <cx:pt idx="14083">370000</cx:pt>
          <cx:pt idx="14084">370000</cx:pt>
          <cx:pt idx="14085">370000</cx:pt>
          <cx:pt idx="14086">370000</cx:pt>
          <cx:pt idx="14087">370000</cx:pt>
          <cx:pt idx="14088">370000</cx:pt>
          <cx:pt idx="14089">370000</cx:pt>
          <cx:pt idx="14090">370000</cx:pt>
          <cx:pt idx="14091">370000</cx:pt>
          <cx:pt idx="14092">370000</cx:pt>
          <cx:pt idx="14093">370000</cx:pt>
          <cx:pt idx="14094">370000</cx:pt>
          <cx:pt idx="14095">370000</cx:pt>
          <cx:pt idx="14096">370000</cx:pt>
          <cx:pt idx="14097">370000</cx:pt>
          <cx:pt idx="14098">370000</cx:pt>
          <cx:pt idx="14099">370000</cx:pt>
          <cx:pt idx="14100">370000</cx:pt>
          <cx:pt idx="14101">370000</cx:pt>
          <cx:pt idx="14102">370000</cx:pt>
          <cx:pt idx="14103">370000</cx:pt>
          <cx:pt idx="14104">370000</cx:pt>
          <cx:pt idx="14105">370000</cx:pt>
          <cx:pt idx="14106">370000</cx:pt>
          <cx:pt idx="14107">370000</cx:pt>
          <cx:pt idx="14108">370000</cx:pt>
          <cx:pt idx="14109">370000</cx:pt>
          <cx:pt idx="14110">370000</cx:pt>
          <cx:pt idx="14111">370000</cx:pt>
          <cx:pt idx="14112">370000</cx:pt>
          <cx:pt idx="14113">370000</cx:pt>
          <cx:pt idx="14114">370000</cx:pt>
          <cx:pt idx="14115">370000</cx:pt>
          <cx:pt idx="14116">370000</cx:pt>
          <cx:pt idx="14117">370000</cx:pt>
          <cx:pt idx="14118">370000</cx:pt>
          <cx:pt idx="14119">370000</cx:pt>
          <cx:pt idx="14120">370000</cx:pt>
          <cx:pt idx="14121">369990</cx:pt>
          <cx:pt idx="14122">369950</cx:pt>
          <cx:pt idx="14123">369950</cx:pt>
          <cx:pt idx="14124">369950</cx:pt>
          <cx:pt idx="14125">369950</cx:pt>
          <cx:pt idx="14126">369950</cx:pt>
          <cx:pt idx="14127">369950</cx:pt>
          <cx:pt idx="14128">369950</cx:pt>
          <cx:pt idx="14129">369950</cx:pt>
          <cx:pt idx="14130">369950</cx:pt>
          <cx:pt idx="14131">369950</cx:pt>
          <cx:pt idx="14132">369950</cx:pt>
          <cx:pt idx="14133">369946</cx:pt>
          <cx:pt idx="14134">369900</cx:pt>
          <cx:pt idx="14135">369900</cx:pt>
          <cx:pt idx="14136">369900</cx:pt>
          <cx:pt idx="14137">369900</cx:pt>
          <cx:pt idx="14138">369500</cx:pt>
          <cx:pt idx="14139">369500</cx:pt>
          <cx:pt idx="14140">369500</cx:pt>
          <cx:pt idx="14141">369500</cx:pt>
          <cx:pt idx="14142">369300</cx:pt>
          <cx:pt idx="14143">369160</cx:pt>
          <cx:pt idx="14144">369000</cx:pt>
          <cx:pt idx="14145">369000</cx:pt>
          <cx:pt idx="14146">369000</cx:pt>
          <cx:pt idx="14147">369000</cx:pt>
          <cx:pt idx="14148">369000</cx:pt>
          <cx:pt idx="14149">369000</cx:pt>
          <cx:pt idx="14150">369000</cx:pt>
          <cx:pt idx="14151">369000</cx:pt>
          <cx:pt idx="14152">369000</cx:pt>
          <cx:pt idx="14153">369000</cx:pt>
          <cx:pt idx="14154">369000</cx:pt>
          <cx:pt idx="14155">369000</cx:pt>
          <cx:pt idx="14156">369000</cx:pt>
          <cx:pt idx="14157">368888</cx:pt>
          <cx:pt idx="14158">368750</cx:pt>
          <cx:pt idx="14159">368500</cx:pt>
          <cx:pt idx="14160">368500</cx:pt>
          <cx:pt idx="14161">368500</cx:pt>
          <cx:pt idx="14162">368500</cx:pt>
          <cx:pt idx="14163">368250</cx:pt>
          <cx:pt idx="14164">368000</cx:pt>
          <cx:pt idx="14165">368000</cx:pt>
          <cx:pt idx="14166">368000</cx:pt>
          <cx:pt idx="14167">368000</cx:pt>
          <cx:pt idx="14168">368000</cx:pt>
          <cx:pt idx="14169">368000</cx:pt>
          <cx:pt idx="14170">368000</cx:pt>
          <cx:pt idx="14171">368000</cx:pt>
          <cx:pt idx="14172">368000</cx:pt>
          <cx:pt idx="14173">368000</cx:pt>
          <cx:pt idx="14174">368000</cx:pt>
          <cx:pt idx="14175">368000</cx:pt>
          <cx:pt idx="14176">368000</cx:pt>
          <cx:pt idx="14177">368000</cx:pt>
          <cx:pt idx="14178">368000</cx:pt>
          <cx:pt idx="14179">368000</cx:pt>
          <cx:pt idx="14180">367999</cx:pt>
          <cx:pt idx="14181">367950</cx:pt>
          <cx:pt idx="14182">367950</cx:pt>
          <cx:pt idx="14183">367899</cx:pt>
          <cx:pt idx="14184">367777</cx:pt>
          <cx:pt idx="14185">367500</cx:pt>
          <cx:pt idx="14186">367500</cx:pt>
          <cx:pt idx="14187">367500</cx:pt>
          <cx:pt idx="14188">367500</cx:pt>
          <cx:pt idx="14189">367500</cx:pt>
          <cx:pt idx="14190">367500</cx:pt>
          <cx:pt idx="14191">367500</cx:pt>
          <cx:pt idx="14192">367500</cx:pt>
          <cx:pt idx="14193">367500</cx:pt>
          <cx:pt idx="14194">367500</cx:pt>
          <cx:pt idx="14195">367500</cx:pt>
          <cx:pt idx="14196">367400</cx:pt>
          <cx:pt idx="14197">367300</cx:pt>
          <cx:pt idx="14198">367000</cx:pt>
          <cx:pt idx="14199">367000</cx:pt>
          <cx:pt idx="14200">367000</cx:pt>
          <cx:pt idx="14201">367000</cx:pt>
          <cx:pt idx="14202">367000</cx:pt>
          <cx:pt idx="14203">367000</cx:pt>
          <cx:pt idx="14204">367000</cx:pt>
          <cx:pt idx="14205">367000</cx:pt>
          <cx:pt idx="14206">367000</cx:pt>
          <cx:pt idx="14207">366750</cx:pt>
          <cx:pt idx="14208">366500</cx:pt>
          <cx:pt idx="14209">366400</cx:pt>
          <cx:pt idx="14210">366350</cx:pt>
          <cx:pt idx="14211">366000</cx:pt>
          <cx:pt idx="14212">366000</cx:pt>
          <cx:pt idx="14213">366000</cx:pt>
          <cx:pt idx="14214">366000</cx:pt>
          <cx:pt idx="14215">366000</cx:pt>
          <cx:pt idx="14216">366000</cx:pt>
          <cx:pt idx="14217">366000</cx:pt>
          <cx:pt idx="14218">366000</cx:pt>
          <cx:pt idx="14219">366000</cx:pt>
          <cx:pt idx="14220">366000</cx:pt>
          <cx:pt idx="14221">366000</cx:pt>
          <cx:pt idx="14222">366000</cx:pt>
          <cx:pt idx="14223">365650</cx:pt>
          <cx:pt idx="14224">365500</cx:pt>
          <cx:pt idx="14225">365500</cx:pt>
          <cx:pt idx="14226">365500</cx:pt>
          <cx:pt idx="14227">365250</cx:pt>
          <cx:pt idx="14228">365070</cx:pt>
          <cx:pt idx="14229">365000</cx:pt>
          <cx:pt idx="14230">365000</cx:pt>
          <cx:pt idx="14231">365000</cx:pt>
          <cx:pt idx="14232">365000</cx:pt>
          <cx:pt idx="14233">365000</cx:pt>
          <cx:pt idx="14234">365000</cx:pt>
          <cx:pt idx="14235">365000</cx:pt>
          <cx:pt idx="14236">365000</cx:pt>
          <cx:pt idx="14237">365000</cx:pt>
          <cx:pt idx="14238">365000</cx:pt>
          <cx:pt idx="14239">365000</cx:pt>
          <cx:pt idx="14240">365000</cx:pt>
          <cx:pt idx="14241">365000</cx:pt>
          <cx:pt idx="14242">365000</cx:pt>
          <cx:pt idx="14243">365000</cx:pt>
          <cx:pt idx="14244">365000</cx:pt>
          <cx:pt idx="14245">365000</cx:pt>
          <cx:pt idx="14246">365000</cx:pt>
          <cx:pt idx="14247">365000</cx:pt>
          <cx:pt idx="14248">365000</cx:pt>
          <cx:pt idx="14249">365000</cx:pt>
          <cx:pt idx="14250">365000</cx:pt>
          <cx:pt idx="14251">365000</cx:pt>
          <cx:pt idx="14252">365000</cx:pt>
          <cx:pt idx="14253">365000</cx:pt>
          <cx:pt idx="14254">365000</cx:pt>
          <cx:pt idx="14255">365000</cx:pt>
          <cx:pt idx="14256">365000</cx:pt>
          <cx:pt idx="14257">365000</cx:pt>
          <cx:pt idx="14258">365000</cx:pt>
          <cx:pt idx="14259">365000</cx:pt>
          <cx:pt idx="14260">365000</cx:pt>
          <cx:pt idx="14261">365000</cx:pt>
          <cx:pt idx="14262">365000</cx:pt>
          <cx:pt idx="14263">365000</cx:pt>
          <cx:pt idx="14264">365000</cx:pt>
          <cx:pt idx="14265">365000</cx:pt>
          <cx:pt idx="14266">365000</cx:pt>
          <cx:pt idx="14267">365000</cx:pt>
          <cx:pt idx="14268">365000</cx:pt>
          <cx:pt idx="14269">365000</cx:pt>
          <cx:pt idx="14270">365000</cx:pt>
          <cx:pt idx="14271">365000</cx:pt>
          <cx:pt idx="14272">365000</cx:pt>
          <cx:pt idx="14273">365000</cx:pt>
          <cx:pt idx="14274">365000</cx:pt>
          <cx:pt idx="14275">365000</cx:pt>
          <cx:pt idx="14276">365000</cx:pt>
          <cx:pt idx="14277">365000</cx:pt>
          <cx:pt idx="14278">365000</cx:pt>
          <cx:pt idx="14279">365000</cx:pt>
          <cx:pt idx="14280">365000</cx:pt>
          <cx:pt idx="14281">365000</cx:pt>
          <cx:pt idx="14282">365000</cx:pt>
          <cx:pt idx="14283">365000</cx:pt>
          <cx:pt idx="14284">365000</cx:pt>
          <cx:pt idx="14285">365000</cx:pt>
          <cx:pt idx="14286">365000</cx:pt>
          <cx:pt idx="14287">365000</cx:pt>
          <cx:pt idx="14288">365000</cx:pt>
          <cx:pt idx="14289">365000</cx:pt>
          <cx:pt idx="14290">365000</cx:pt>
          <cx:pt idx="14291">365000</cx:pt>
          <cx:pt idx="14292">365000</cx:pt>
          <cx:pt idx="14293">365000</cx:pt>
          <cx:pt idx="14294">365000</cx:pt>
          <cx:pt idx="14295">365000</cx:pt>
          <cx:pt idx="14296">365000</cx:pt>
          <cx:pt idx="14297">365000</cx:pt>
          <cx:pt idx="14298">365000</cx:pt>
          <cx:pt idx="14299">365000</cx:pt>
          <cx:pt idx="14300">365000</cx:pt>
          <cx:pt idx="14301">365000</cx:pt>
          <cx:pt idx="14302">365000</cx:pt>
          <cx:pt idx="14303">365000</cx:pt>
          <cx:pt idx="14304">365000</cx:pt>
          <cx:pt idx="14305">365000</cx:pt>
          <cx:pt idx="14306">365000</cx:pt>
          <cx:pt idx="14307">364988</cx:pt>
          <cx:pt idx="14308">364950</cx:pt>
          <cx:pt idx="14309">364950</cx:pt>
          <cx:pt idx="14310">364950</cx:pt>
          <cx:pt idx="14311">364950</cx:pt>
          <cx:pt idx="14312">364900</cx:pt>
          <cx:pt idx="14313">364900</cx:pt>
          <cx:pt idx="14314">364808</cx:pt>
          <cx:pt idx="14315">364500</cx:pt>
          <cx:pt idx="14316">364500</cx:pt>
          <cx:pt idx="14317">364500</cx:pt>
          <cx:pt idx="14318">364250</cx:pt>
          <cx:pt idx="14319">364000</cx:pt>
          <cx:pt idx="14320">364000</cx:pt>
          <cx:pt idx="14321">364000</cx:pt>
          <cx:pt idx="14322">364000</cx:pt>
          <cx:pt idx="14323">364000</cx:pt>
          <cx:pt idx="14324">364000</cx:pt>
          <cx:pt idx="14325">364000</cx:pt>
          <cx:pt idx="14326">364000</cx:pt>
          <cx:pt idx="14327">364000</cx:pt>
          <cx:pt idx="14328">363990</cx:pt>
          <cx:pt idx="14329">363750</cx:pt>
          <cx:pt idx="14330">363500</cx:pt>
          <cx:pt idx="14331">363500</cx:pt>
          <cx:pt idx="14332">363000</cx:pt>
          <cx:pt idx="14333">363000</cx:pt>
          <cx:pt idx="14334">363000</cx:pt>
          <cx:pt idx="14335">363000</cx:pt>
          <cx:pt idx="14336">363000</cx:pt>
          <cx:pt idx="14337">363000</cx:pt>
          <cx:pt idx="14338">363000</cx:pt>
          <cx:pt idx="14339">363000</cx:pt>
          <cx:pt idx="14340">363000</cx:pt>
          <cx:pt idx="14341">363000</cx:pt>
          <cx:pt idx="14342">363000</cx:pt>
          <cx:pt idx="14343">363000</cx:pt>
          <cx:pt idx="14344">362950</cx:pt>
          <cx:pt idx="14345">362865</cx:pt>
          <cx:pt idx="14346">362764</cx:pt>
          <cx:pt idx="14347">362500</cx:pt>
          <cx:pt idx="14348">362500</cx:pt>
          <cx:pt idx="14349">362500</cx:pt>
          <cx:pt idx="14350">362500</cx:pt>
          <cx:pt idx="14351">362500</cx:pt>
          <cx:pt idx="14352">362500</cx:pt>
          <cx:pt idx="14353">362500</cx:pt>
          <cx:pt idx="14354">362500</cx:pt>
          <cx:pt idx="14355">362362</cx:pt>
          <cx:pt idx="14356">362300</cx:pt>
          <cx:pt idx="14357">362000</cx:pt>
          <cx:pt idx="14358">362000</cx:pt>
          <cx:pt idx="14359">362000</cx:pt>
          <cx:pt idx="14360">362000</cx:pt>
          <cx:pt idx="14361">362000</cx:pt>
          <cx:pt idx="14362">362000</cx:pt>
          <cx:pt idx="14363">362000</cx:pt>
          <cx:pt idx="14364">362000</cx:pt>
          <cx:pt idx="14365">362000</cx:pt>
          <cx:pt idx="14366">361810</cx:pt>
          <cx:pt idx="14367">361600</cx:pt>
          <cx:pt idx="14368">361550</cx:pt>
          <cx:pt idx="14369">361500</cx:pt>
          <cx:pt idx="14370">361500</cx:pt>
          <cx:pt idx="14371">361500</cx:pt>
          <cx:pt idx="14372">361500</cx:pt>
          <cx:pt idx="14373">361280</cx:pt>
          <cx:pt idx="14374">361000</cx:pt>
          <cx:pt idx="14375">361000</cx:pt>
          <cx:pt idx="14376">361000</cx:pt>
          <cx:pt idx="14377">361000</cx:pt>
          <cx:pt idx="14378">361000</cx:pt>
          <cx:pt idx="14379">361000</cx:pt>
          <cx:pt idx="14380">361000</cx:pt>
          <cx:pt idx="14381">361000</cx:pt>
          <cx:pt idx="14382">361000</cx:pt>
          <cx:pt idx="14383">361000</cx:pt>
          <cx:pt idx="14384">360500</cx:pt>
          <cx:pt idx="14385">360500</cx:pt>
          <cx:pt idx="14386">360400</cx:pt>
          <cx:pt idx="14387">360000</cx:pt>
          <cx:pt idx="14388">360000</cx:pt>
          <cx:pt idx="14389">360000</cx:pt>
          <cx:pt idx="14390">360000</cx:pt>
          <cx:pt idx="14391">360000</cx:pt>
          <cx:pt idx="14392">360000</cx:pt>
          <cx:pt idx="14393">360000</cx:pt>
          <cx:pt idx="14394">360000</cx:pt>
          <cx:pt idx="14395">360000</cx:pt>
          <cx:pt idx="14396">360000</cx:pt>
          <cx:pt idx="14397">360000</cx:pt>
          <cx:pt idx="14398">360000</cx:pt>
          <cx:pt idx="14399">360000</cx:pt>
          <cx:pt idx="14400">360000</cx:pt>
          <cx:pt idx="14401">360000</cx:pt>
          <cx:pt idx="14402">360000</cx:pt>
          <cx:pt idx="14403">360000</cx:pt>
          <cx:pt idx="14404">360000</cx:pt>
          <cx:pt idx="14405">360000</cx:pt>
          <cx:pt idx="14406">360000</cx:pt>
          <cx:pt idx="14407">360000</cx:pt>
          <cx:pt idx="14408">360000</cx:pt>
          <cx:pt idx="14409">360000</cx:pt>
          <cx:pt idx="14410">360000</cx:pt>
          <cx:pt idx="14411">360000</cx:pt>
          <cx:pt idx="14412">360000</cx:pt>
          <cx:pt idx="14413">360000</cx:pt>
          <cx:pt idx="14414">360000</cx:pt>
          <cx:pt idx="14415">360000</cx:pt>
          <cx:pt idx="14416">360000</cx:pt>
          <cx:pt idx="14417">360000</cx:pt>
          <cx:pt idx="14418">360000</cx:pt>
          <cx:pt idx="14419">360000</cx:pt>
          <cx:pt idx="14420">360000</cx:pt>
          <cx:pt idx="14421">360000</cx:pt>
          <cx:pt idx="14422">360000</cx:pt>
          <cx:pt idx="14423">360000</cx:pt>
          <cx:pt idx="14424">360000</cx:pt>
          <cx:pt idx="14425">360000</cx:pt>
          <cx:pt idx="14426">360000</cx:pt>
          <cx:pt idx="14427">360000</cx:pt>
          <cx:pt idx="14428">360000</cx:pt>
          <cx:pt idx="14429">360000</cx:pt>
          <cx:pt idx="14430">360000</cx:pt>
          <cx:pt idx="14431">360000</cx:pt>
          <cx:pt idx="14432">360000</cx:pt>
          <cx:pt idx="14433">360000</cx:pt>
          <cx:pt idx="14434">360000</cx:pt>
          <cx:pt idx="14435">360000</cx:pt>
          <cx:pt idx="14436">360000</cx:pt>
          <cx:pt idx="14437">360000</cx:pt>
          <cx:pt idx="14438">360000</cx:pt>
          <cx:pt idx="14439">360000</cx:pt>
          <cx:pt idx="14440">360000</cx:pt>
          <cx:pt idx="14441">360000</cx:pt>
          <cx:pt idx="14442">360000</cx:pt>
          <cx:pt idx="14443">360000</cx:pt>
          <cx:pt idx="14444">360000</cx:pt>
          <cx:pt idx="14445">360000</cx:pt>
          <cx:pt idx="14446">360000</cx:pt>
          <cx:pt idx="14447">360000</cx:pt>
          <cx:pt idx="14448">360000</cx:pt>
          <cx:pt idx="14449">360000</cx:pt>
          <cx:pt idx="14450">360000</cx:pt>
          <cx:pt idx="14451">360000</cx:pt>
          <cx:pt idx="14452">360000</cx:pt>
          <cx:pt idx="14453">360000</cx:pt>
          <cx:pt idx="14454">360000</cx:pt>
          <cx:pt idx="14455">360000</cx:pt>
          <cx:pt idx="14456">360000</cx:pt>
          <cx:pt idx="14457">360000</cx:pt>
          <cx:pt idx="14458">360000</cx:pt>
          <cx:pt idx="14459">360000</cx:pt>
          <cx:pt idx="14460">360000</cx:pt>
          <cx:pt idx="14461">360000</cx:pt>
          <cx:pt idx="14462">360000</cx:pt>
          <cx:pt idx="14463">360000</cx:pt>
          <cx:pt idx="14464">360000</cx:pt>
          <cx:pt idx="14465">360000</cx:pt>
          <cx:pt idx="14466">360000</cx:pt>
          <cx:pt idx="14467">360000</cx:pt>
          <cx:pt idx="14468">360000</cx:pt>
          <cx:pt idx="14469">360000</cx:pt>
          <cx:pt idx="14470">360000</cx:pt>
          <cx:pt idx="14471">360000</cx:pt>
          <cx:pt idx="14472">360000</cx:pt>
          <cx:pt idx="14473">360000</cx:pt>
          <cx:pt idx="14474">360000</cx:pt>
          <cx:pt idx="14475">360000</cx:pt>
          <cx:pt idx="14476">360000</cx:pt>
          <cx:pt idx="14477">360000</cx:pt>
          <cx:pt idx="14478">360000</cx:pt>
          <cx:pt idx="14479">360000</cx:pt>
          <cx:pt idx="14480">360000</cx:pt>
          <cx:pt idx="14481">360000</cx:pt>
          <cx:pt idx="14482">360000</cx:pt>
          <cx:pt idx="14483">359999</cx:pt>
          <cx:pt idx="14484">359999</cx:pt>
          <cx:pt idx="14485">359950</cx:pt>
          <cx:pt idx="14486">359950</cx:pt>
          <cx:pt idx="14487">359950</cx:pt>
          <cx:pt idx="14488">359950</cx:pt>
          <cx:pt idx="14489">359950</cx:pt>
          <cx:pt idx="14490">359950</cx:pt>
          <cx:pt idx="14491">359950</cx:pt>
          <cx:pt idx="14492">359950</cx:pt>
          <cx:pt idx="14493">359950</cx:pt>
          <cx:pt idx="14494">359950</cx:pt>
          <cx:pt idx="14495">359950</cx:pt>
          <cx:pt idx="14496">359950</cx:pt>
          <cx:pt idx="14497">359950</cx:pt>
          <cx:pt idx="14498">359950</cx:pt>
          <cx:pt idx="14499">359950</cx:pt>
          <cx:pt idx="14500">359950</cx:pt>
          <cx:pt idx="14501">359950</cx:pt>
          <cx:pt idx="14502">359950</cx:pt>
          <cx:pt idx="14503">359950</cx:pt>
          <cx:pt idx="14504">359900</cx:pt>
          <cx:pt idx="14505">359900</cx:pt>
          <cx:pt idx="14506">359900</cx:pt>
          <cx:pt idx="14507">359900</cx:pt>
          <cx:pt idx="14508">359800</cx:pt>
          <cx:pt idx="14509">359800</cx:pt>
          <cx:pt idx="14510">359800</cx:pt>
          <cx:pt idx="14511">359782</cx:pt>
          <cx:pt idx="14512">359500</cx:pt>
          <cx:pt idx="14513">359500</cx:pt>
          <cx:pt idx="14514">359500</cx:pt>
          <cx:pt idx="14515">359500</cx:pt>
          <cx:pt idx="14516">359500</cx:pt>
          <cx:pt idx="14517">359000</cx:pt>
          <cx:pt idx="14518">359000</cx:pt>
          <cx:pt idx="14519">359000</cx:pt>
          <cx:pt idx="14520">359000</cx:pt>
          <cx:pt idx="14521">359000</cx:pt>
          <cx:pt idx="14522">359000</cx:pt>
          <cx:pt idx="14523">359000</cx:pt>
          <cx:pt idx="14524">359000</cx:pt>
          <cx:pt idx="14525">359000</cx:pt>
          <cx:pt idx="14526">359000</cx:pt>
          <cx:pt idx="14527">359000</cx:pt>
          <cx:pt idx="14528">359000</cx:pt>
          <cx:pt idx="14529">359000</cx:pt>
          <cx:pt idx="14530">359000</cx:pt>
          <cx:pt idx="14531">359000</cx:pt>
          <cx:pt idx="14532">359000</cx:pt>
          <cx:pt idx="14533">359000</cx:pt>
          <cx:pt idx="14534">359000</cx:pt>
          <cx:pt idx="14535">359000</cx:pt>
          <cx:pt idx="14536">359000</cx:pt>
          <cx:pt idx="14537">359000</cx:pt>
          <cx:pt idx="14538">359000</cx:pt>
          <cx:pt idx="14539">358990</cx:pt>
          <cx:pt idx="14540">358803</cx:pt>
          <cx:pt idx="14541">358800</cx:pt>
          <cx:pt idx="14542">358500</cx:pt>
          <cx:pt idx="14543">358500</cx:pt>
          <cx:pt idx="14544">358000</cx:pt>
          <cx:pt idx="14545">358000</cx:pt>
          <cx:pt idx="14546">358000</cx:pt>
          <cx:pt idx="14547">358000</cx:pt>
          <cx:pt idx="14548">358000</cx:pt>
          <cx:pt idx="14549">358000</cx:pt>
          <cx:pt idx="14550">358000</cx:pt>
          <cx:pt idx="14551">358000</cx:pt>
          <cx:pt idx="14552">358000</cx:pt>
          <cx:pt idx="14553">358000</cx:pt>
          <cx:pt idx="14554">358000</cx:pt>
          <cx:pt idx="14555">358000</cx:pt>
          <cx:pt idx="14556">358000</cx:pt>
          <cx:pt idx="14557">358000</cx:pt>
          <cx:pt idx="14558">358000</cx:pt>
          <cx:pt idx="14559">358000</cx:pt>
          <cx:pt idx="14560">358000</cx:pt>
          <cx:pt idx="14561">358000</cx:pt>
          <cx:pt idx="14562">358000</cx:pt>
          <cx:pt idx="14563">358000</cx:pt>
          <cx:pt idx="14564">358000</cx:pt>
          <cx:pt idx="14565">357950</cx:pt>
          <cx:pt idx="14566">357823</cx:pt>
          <cx:pt idx="14567">357562</cx:pt>
          <cx:pt idx="14568">357500</cx:pt>
          <cx:pt idx="14569">357500</cx:pt>
          <cx:pt idx="14570">357500</cx:pt>
          <cx:pt idx="14571">357500</cx:pt>
          <cx:pt idx="14572">357500</cx:pt>
          <cx:pt idx="14573">357500</cx:pt>
          <cx:pt idx="14574">357500</cx:pt>
          <cx:pt idx="14575">357500</cx:pt>
          <cx:pt idx="14576">357250</cx:pt>
          <cx:pt idx="14577">357186</cx:pt>
          <cx:pt idx="14578">357000</cx:pt>
          <cx:pt idx="14579">357000</cx:pt>
          <cx:pt idx="14580">357000</cx:pt>
          <cx:pt idx="14581">357000</cx:pt>
          <cx:pt idx="14582">357000</cx:pt>
          <cx:pt idx="14583">357000</cx:pt>
          <cx:pt idx="14584">357000</cx:pt>
          <cx:pt idx="14585">357000</cx:pt>
          <cx:pt idx="14586">357000</cx:pt>
          <cx:pt idx="14587">357000</cx:pt>
          <cx:pt idx="14588">357000</cx:pt>
          <cx:pt idx="14589">357000</cx:pt>
          <cx:pt idx="14590">357000</cx:pt>
          <cx:pt idx="14591">356999</cx:pt>
          <cx:pt idx="14592">356700</cx:pt>
          <cx:pt idx="14593">356500</cx:pt>
          <cx:pt idx="14594">356500</cx:pt>
          <cx:pt idx="14595">356250</cx:pt>
          <cx:pt idx="14596">356200</cx:pt>
          <cx:pt idx="14597">356000</cx:pt>
          <cx:pt idx="14598">356000</cx:pt>
          <cx:pt idx="14599">356000</cx:pt>
          <cx:pt idx="14600">356000</cx:pt>
          <cx:pt idx="14601">356000</cx:pt>
          <cx:pt idx="14602">356000</cx:pt>
          <cx:pt idx="14603">356000</cx:pt>
          <cx:pt idx="14604">356000</cx:pt>
          <cx:pt idx="14605">356000</cx:pt>
          <cx:pt idx="14606">356000</cx:pt>
          <cx:pt idx="14607">356000</cx:pt>
          <cx:pt idx="14608">356000</cx:pt>
          <cx:pt idx="14609">356000</cx:pt>
          <cx:pt idx="14610">356000</cx:pt>
          <cx:pt idx="14611">355950</cx:pt>
          <cx:pt idx="14612">355900</cx:pt>
          <cx:pt idx="14613">355500</cx:pt>
          <cx:pt idx="14614">355500</cx:pt>
          <cx:pt idx="14615">355500</cx:pt>
          <cx:pt idx="14616">355425</cx:pt>
          <cx:pt idx="14617">355300</cx:pt>
          <cx:pt idx="14618">355200</cx:pt>
          <cx:pt idx="14619">355000</cx:pt>
          <cx:pt idx="14620">355000</cx:pt>
          <cx:pt idx="14621">355000</cx:pt>
          <cx:pt idx="14622">355000</cx:pt>
          <cx:pt idx="14623">355000</cx:pt>
          <cx:pt idx="14624">355000</cx:pt>
          <cx:pt idx="14625">355000</cx:pt>
          <cx:pt idx="14626">355000</cx:pt>
          <cx:pt idx="14627">355000</cx:pt>
          <cx:pt idx="14628">355000</cx:pt>
          <cx:pt idx="14629">355000</cx:pt>
          <cx:pt idx="14630">355000</cx:pt>
          <cx:pt idx="14631">355000</cx:pt>
          <cx:pt idx="14632">355000</cx:pt>
          <cx:pt idx="14633">355000</cx:pt>
          <cx:pt idx="14634">355000</cx:pt>
          <cx:pt idx="14635">355000</cx:pt>
          <cx:pt idx="14636">355000</cx:pt>
          <cx:pt idx="14637">355000</cx:pt>
          <cx:pt idx="14638">355000</cx:pt>
          <cx:pt idx="14639">355000</cx:pt>
          <cx:pt idx="14640">355000</cx:pt>
          <cx:pt idx="14641">355000</cx:pt>
          <cx:pt idx="14642">355000</cx:pt>
          <cx:pt idx="14643">355000</cx:pt>
          <cx:pt idx="14644">355000</cx:pt>
          <cx:pt idx="14645">355000</cx:pt>
          <cx:pt idx="14646">355000</cx:pt>
          <cx:pt idx="14647">355000</cx:pt>
          <cx:pt idx="14648">355000</cx:pt>
          <cx:pt idx="14649">355000</cx:pt>
          <cx:pt idx="14650">355000</cx:pt>
          <cx:pt idx="14651">355000</cx:pt>
          <cx:pt idx="14652">355000</cx:pt>
          <cx:pt idx="14653">355000</cx:pt>
          <cx:pt idx="14654">355000</cx:pt>
          <cx:pt idx="14655">355000</cx:pt>
          <cx:pt idx="14656">355000</cx:pt>
          <cx:pt idx="14657">355000</cx:pt>
          <cx:pt idx="14658">355000</cx:pt>
          <cx:pt idx="14659">355000</cx:pt>
          <cx:pt idx="14660">355000</cx:pt>
          <cx:pt idx="14661">355000</cx:pt>
          <cx:pt idx="14662">355000</cx:pt>
          <cx:pt idx="14663">355000</cx:pt>
          <cx:pt idx="14664">355000</cx:pt>
          <cx:pt idx="14665">355000</cx:pt>
          <cx:pt idx="14666">355000</cx:pt>
          <cx:pt idx="14667">355000</cx:pt>
          <cx:pt idx="14668">355000</cx:pt>
          <cx:pt idx="14669">355000</cx:pt>
          <cx:pt idx="14670">355000</cx:pt>
          <cx:pt idx="14671">355000</cx:pt>
          <cx:pt idx="14672">355000</cx:pt>
          <cx:pt idx="14673">355000</cx:pt>
          <cx:pt idx="14674">355000</cx:pt>
          <cx:pt idx="14675">355000</cx:pt>
          <cx:pt idx="14676">355000</cx:pt>
          <cx:pt idx="14677">355000</cx:pt>
          <cx:pt idx="14678">355000</cx:pt>
          <cx:pt idx="14679">355000</cx:pt>
          <cx:pt idx="14680">355000</cx:pt>
          <cx:pt idx="14681">355000</cx:pt>
          <cx:pt idx="14682">355000</cx:pt>
          <cx:pt idx="14683">355000</cx:pt>
          <cx:pt idx="14684">355000</cx:pt>
          <cx:pt idx="14685">355000</cx:pt>
          <cx:pt idx="14686">355000</cx:pt>
          <cx:pt idx="14687">355000</cx:pt>
          <cx:pt idx="14688">355000</cx:pt>
          <cx:pt idx="14689">355000</cx:pt>
          <cx:pt idx="14690">355000</cx:pt>
          <cx:pt idx="14691">355000</cx:pt>
          <cx:pt idx="14692">355000</cx:pt>
          <cx:pt idx="14693">355000</cx:pt>
          <cx:pt idx="14694">355000</cx:pt>
          <cx:pt idx="14695">355000</cx:pt>
          <cx:pt idx="14696">355000</cx:pt>
          <cx:pt idx="14697">355000</cx:pt>
          <cx:pt idx="14698">355000</cx:pt>
          <cx:pt idx="14699">355000</cx:pt>
          <cx:pt idx="14700">355000</cx:pt>
          <cx:pt idx="14701">355000</cx:pt>
          <cx:pt idx="14702">355000</cx:pt>
          <cx:pt idx="14703">355000</cx:pt>
          <cx:pt idx="14704">355000</cx:pt>
          <cx:pt idx="14705">355000</cx:pt>
          <cx:pt idx="14706">354950</cx:pt>
          <cx:pt idx="14707">354950</cx:pt>
          <cx:pt idx="14708">354950</cx:pt>
          <cx:pt idx="14709">354901</cx:pt>
          <cx:pt idx="14710">354900</cx:pt>
          <cx:pt idx="14711">354800</cx:pt>
          <cx:pt idx="14712">354500</cx:pt>
          <cx:pt idx="14713">354450</cx:pt>
          <cx:pt idx="14714">354000</cx:pt>
          <cx:pt idx="14715">354000</cx:pt>
          <cx:pt idx="14716">354000</cx:pt>
          <cx:pt idx="14717">354000</cx:pt>
          <cx:pt idx="14718">354000</cx:pt>
          <cx:pt idx="14719">354000</cx:pt>
          <cx:pt idx="14720">354000</cx:pt>
          <cx:pt idx="14721">354000</cx:pt>
          <cx:pt idx="14722">354000</cx:pt>
          <cx:pt idx="14723">354000</cx:pt>
          <cx:pt idx="14724">354000</cx:pt>
          <cx:pt idx="14725">354000</cx:pt>
          <cx:pt idx="14726">354000</cx:pt>
          <cx:pt idx="14727">354000</cx:pt>
          <cx:pt idx="14728">354000</cx:pt>
          <cx:pt idx="14729">353950</cx:pt>
          <cx:pt idx="14730">353900</cx:pt>
          <cx:pt idx="14731">353900</cx:pt>
          <cx:pt idx="14732">353750</cx:pt>
          <cx:pt idx="14733">353500</cx:pt>
          <cx:pt idx="14734">353500</cx:pt>
          <cx:pt idx="14735">353500</cx:pt>
          <cx:pt idx="14736">353500</cx:pt>
          <cx:pt idx="14737">353500</cx:pt>
          <cx:pt idx="14738">353500</cx:pt>
          <cx:pt idx="14739">353500</cx:pt>
          <cx:pt idx="14740">353250</cx:pt>
          <cx:pt idx="14741">353000</cx:pt>
          <cx:pt idx="14742">353000</cx:pt>
          <cx:pt idx="14743">353000</cx:pt>
          <cx:pt idx="14744">353000</cx:pt>
          <cx:pt idx="14745">353000</cx:pt>
          <cx:pt idx="14746">353000</cx:pt>
          <cx:pt idx="14747">353000</cx:pt>
          <cx:pt idx="14748">353000</cx:pt>
          <cx:pt idx="14749">353000</cx:pt>
          <cx:pt idx="14750">353000</cx:pt>
          <cx:pt idx="14751">353000</cx:pt>
          <cx:pt idx="14752">353000</cx:pt>
          <cx:pt idx="14753">353000</cx:pt>
          <cx:pt idx="14754">353000</cx:pt>
          <cx:pt idx="14755">353000</cx:pt>
          <cx:pt idx="14756">353000</cx:pt>
          <cx:pt idx="14757">353000</cx:pt>
          <cx:pt idx="14758">353000</cx:pt>
          <cx:pt idx="14759">353000</cx:pt>
          <cx:pt idx="14760">353000</cx:pt>
          <cx:pt idx="14761">353000</cx:pt>
          <cx:pt idx="14762">353000</cx:pt>
          <cx:pt idx="14763">352950</cx:pt>
          <cx:pt idx="14764">352900</cx:pt>
          <cx:pt idx="14765">352800</cx:pt>
          <cx:pt idx="14766">352800</cx:pt>
          <cx:pt idx="14767">352750</cx:pt>
          <cx:pt idx="14768">352750</cx:pt>
          <cx:pt idx="14769">352500</cx:pt>
          <cx:pt idx="14770">352500</cx:pt>
          <cx:pt idx="14771">352500</cx:pt>
          <cx:pt idx="14772">352500</cx:pt>
          <cx:pt idx="14773">352500</cx:pt>
          <cx:pt idx="14774">352500</cx:pt>
          <cx:pt idx="14775">352500</cx:pt>
          <cx:pt idx="14776">352500</cx:pt>
          <cx:pt idx="14777">352500</cx:pt>
          <cx:pt idx="14778">352500</cx:pt>
          <cx:pt idx="14779">352500</cx:pt>
          <cx:pt idx="14780">352500</cx:pt>
          <cx:pt idx="14781">352500</cx:pt>
          <cx:pt idx="14782">352500</cx:pt>
          <cx:pt idx="14783">352499</cx:pt>
          <cx:pt idx="14784">352450</cx:pt>
          <cx:pt idx="14785">352000</cx:pt>
          <cx:pt idx="14786">352000</cx:pt>
          <cx:pt idx="14787">352000</cx:pt>
          <cx:pt idx="14788">352000</cx:pt>
          <cx:pt idx="14789">352000</cx:pt>
          <cx:pt idx="14790">352000</cx:pt>
          <cx:pt idx="14791">352000</cx:pt>
          <cx:pt idx="14792">352000</cx:pt>
          <cx:pt idx="14793">352000</cx:pt>
          <cx:pt idx="14794">352000</cx:pt>
          <cx:pt idx="14795">352000</cx:pt>
          <cx:pt idx="14796">352000</cx:pt>
          <cx:pt idx="14797">352000</cx:pt>
          <cx:pt idx="14798">352000</cx:pt>
          <cx:pt idx="14799">352000</cx:pt>
          <cx:pt idx="14800">352000</cx:pt>
          <cx:pt idx="14801">352000</cx:pt>
          <cx:pt idx="14802">351999</cx:pt>
          <cx:pt idx="14803">351358</cx:pt>
          <cx:pt idx="14804">351000</cx:pt>
          <cx:pt idx="14805">351000</cx:pt>
          <cx:pt idx="14806">351000</cx:pt>
          <cx:pt idx="14807">351000</cx:pt>
          <cx:pt idx="14808">351000</cx:pt>
          <cx:pt idx="14809">351000</cx:pt>
          <cx:pt idx="14810">350900</cx:pt>
          <cx:pt idx="14811">350500</cx:pt>
          <cx:pt idx="14812">350500</cx:pt>
          <cx:pt idx="14813">350500</cx:pt>
          <cx:pt idx="14814">350500</cx:pt>
          <cx:pt idx="14815">350500</cx:pt>
          <cx:pt idx="14816">350000</cx:pt>
          <cx:pt idx="14817">350000</cx:pt>
          <cx:pt idx="14818">350000</cx:pt>
          <cx:pt idx="14819">350000</cx:pt>
          <cx:pt idx="14820">350000</cx:pt>
          <cx:pt idx="14821">350000</cx:pt>
          <cx:pt idx="14822">350000</cx:pt>
          <cx:pt idx="14823">350000</cx:pt>
          <cx:pt idx="14824">350000</cx:pt>
          <cx:pt idx="14825">350000</cx:pt>
          <cx:pt idx="14826">350000</cx:pt>
          <cx:pt idx="14827">350000</cx:pt>
          <cx:pt idx="14828">350000</cx:pt>
          <cx:pt idx="14829">350000</cx:pt>
          <cx:pt idx="14830">350000</cx:pt>
          <cx:pt idx="14831">350000</cx:pt>
          <cx:pt idx="14832">350000</cx:pt>
          <cx:pt idx="14833">350000</cx:pt>
          <cx:pt idx="14834">350000</cx:pt>
          <cx:pt idx="14835">350000</cx:pt>
          <cx:pt idx="14836">350000</cx:pt>
          <cx:pt idx="14837">350000</cx:pt>
          <cx:pt idx="14838">350000</cx:pt>
          <cx:pt idx="14839">350000</cx:pt>
          <cx:pt idx="14840">350000</cx:pt>
          <cx:pt idx="14841">350000</cx:pt>
          <cx:pt idx="14842">350000</cx:pt>
          <cx:pt idx="14843">350000</cx:pt>
          <cx:pt idx="14844">350000</cx:pt>
          <cx:pt idx="14845">350000</cx:pt>
          <cx:pt idx="14846">350000</cx:pt>
          <cx:pt idx="14847">350000</cx:pt>
          <cx:pt idx="14848">350000</cx:pt>
          <cx:pt idx="14849">350000</cx:pt>
          <cx:pt idx="14850">350000</cx:pt>
          <cx:pt idx="14851">350000</cx:pt>
          <cx:pt idx="14852">350000</cx:pt>
          <cx:pt idx="14853">350000</cx:pt>
          <cx:pt idx="14854">350000</cx:pt>
          <cx:pt idx="14855">350000</cx:pt>
          <cx:pt idx="14856">350000</cx:pt>
          <cx:pt idx="14857">350000</cx:pt>
          <cx:pt idx="14858">350000</cx:pt>
          <cx:pt idx="14859">350000</cx:pt>
          <cx:pt idx="14860">350000</cx:pt>
          <cx:pt idx="14861">350000</cx:pt>
          <cx:pt idx="14862">350000</cx:pt>
          <cx:pt idx="14863">350000</cx:pt>
          <cx:pt idx="14864">350000</cx:pt>
          <cx:pt idx="14865">350000</cx:pt>
          <cx:pt idx="14866">350000</cx:pt>
          <cx:pt idx="14867">350000</cx:pt>
          <cx:pt idx="14868">350000</cx:pt>
          <cx:pt idx="14869">350000</cx:pt>
          <cx:pt idx="14870">350000</cx:pt>
          <cx:pt idx="14871">350000</cx:pt>
          <cx:pt idx="14872">350000</cx:pt>
          <cx:pt idx="14873">350000</cx:pt>
          <cx:pt idx="14874">350000</cx:pt>
          <cx:pt idx="14875">350000</cx:pt>
          <cx:pt idx="14876">350000</cx:pt>
          <cx:pt idx="14877">350000</cx:pt>
          <cx:pt idx="14878">350000</cx:pt>
          <cx:pt idx="14879">350000</cx:pt>
          <cx:pt idx="14880">350000</cx:pt>
          <cx:pt idx="14881">350000</cx:pt>
          <cx:pt idx="14882">350000</cx:pt>
          <cx:pt idx="14883">350000</cx:pt>
          <cx:pt idx="14884">350000</cx:pt>
          <cx:pt idx="14885">350000</cx:pt>
          <cx:pt idx="14886">350000</cx:pt>
          <cx:pt idx="14887">350000</cx:pt>
          <cx:pt idx="14888">350000</cx:pt>
          <cx:pt idx="14889">350000</cx:pt>
          <cx:pt idx="14890">350000</cx:pt>
          <cx:pt idx="14891">350000</cx:pt>
          <cx:pt idx="14892">350000</cx:pt>
          <cx:pt idx="14893">350000</cx:pt>
          <cx:pt idx="14894">350000</cx:pt>
          <cx:pt idx="14895">350000</cx:pt>
          <cx:pt idx="14896">350000</cx:pt>
          <cx:pt idx="14897">350000</cx:pt>
          <cx:pt idx="14898">350000</cx:pt>
          <cx:pt idx="14899">350000</cx:pt>
          <cx:pt idx="14900">350000</cx:pt>
          <cx:pt idx="14901">350000</cx:pt>
          <cx:pt idx="14902">350000</cx:pt>
          <cx:pt idx="14903">350000</cx:pt>
          <cx:pt idx="14904">350000</cx:pt>
          <cx:pt idx="14905">350000</cx:pt>
          <cx:pt idx="14906">350000</cx:pt>
          <cx:pt idx="14907">350000</cx:pt>
          <cx:pt idx="14908">350000</cx:pt>
          <cx:pt idx="14909">350000</cx:pt>
          <cx:pt idx="14910">350000</cx:pt>
          <cx:pt idx="14911">350000</cx:pt>
          <cx:pt idx="14912">350000</cx:pt>
          <cx:pt idx="14913">350000</cx:pt>
          <cx:pt idx="14914">350000</cx:pt>
          <cx:pt idx="14915">350000</cx:pt>
          <cx:pt idx="14916">350000</cx:pt>
          <cx:pt idx="14917">350000</cx:pt>
          <cx:pt idx="14918">350000</cx:pt>
          <cx:pt idx="14919">350000</cx:pt>
          <cx:pt idx="14920">350000</cx:pt>
          <cx:pt idx="14921">350000</cx:pt>
          <cx:pt idx="14922">350000</cx:pt>
          <cx:pt idx="14923">350000</cx:pt>
          <cx:pt idx="14924">350000</cx:pt>
          <cx:pt idx="14925">350000</cx:pt>
          <cx:pt idx="14926">350000</cx:pt>
          <cx:pt idx="14927">350000</cx:pt>
          <cx:pt idx="14928">350000</cx:pt>
          <cx:pt idx="14929">350000</cx:pt>
          <cx:pt idx="14930">350000</cx:pt>
          <cx:pt idx="14931">350000</cx:pt>
          <cx:pt idx="14932">350000</cx:pt>
          <cx:pt idx="14933">350000</cx:pt>
          <cx:pt idx="14934">350000</cx:pt>
          <cx:pt idx="14935">350000</cx:pt>
          <cx:pt idx="14936">350000</cx:pt>
          <cx:pt idx="14937">350000</cx:pt>
          <cx:pt idx="14938">350000</cx:pt>
          <cx:pt idx="14939">350000</cx:pt>
          <cx:pt idx="14940">350000</cx:pt>
          <cx:pt idx="14941">350000</cx:pt>
          <cx:pt idx="14942">350000</cx:pt>
          <cx:pt idx="14943">350000</cx:pt>
          <cx:pt idx="14944">350000</cx:pt>
          <cx:pt idx="14945">350000</cx:pt>
          <cx:pt idx="14946">350000</cx:pt>
          <cx:pt idx="14947">350000</cx:pt>
          <cx:pt idx="14948">350000</cx:pt>
          <cx:pt idx="14949">350000</cx:pt>
          <cx:pt idx="14950">350000</cx:pt>
          <cx:pt idx="14951">350000</cx:pt>
          <cx:pt idx="14952">350000</cx:pt>
          <cx:pt idx="14953">350000</cx:pt>
          <cx:pt idx="14954">350000</cx:pt>
          <cx:pt idx="14955">350000</cx:pt>
          <cx:pt idx="14956">350000</cx:pt>
          <cx:pt idx="14957">350000</cx:pt>
          <cx:pt idx="14958">350000</cx:pt>
          <cx:pt idx="14959">350000</cx:pt>
          <cx:pt idx="14960">350000</cx:pt>
          <cx:pt idx="14961">350000</cx:pt>
          <cx:pt idx="14962">350000</cx:pt>
          <cx:pt idx="14963">350000</cx:pt>
          <cx:pt idx="14964">350000</cx:pt>
          <cx:pt idx="14965">350000</cx:pt>
          <cx:pt idx="14966">350000</cx:pt>
          <cx:pt idx="14967">350000</cx:pt>
          <cx:pt idx="14968">350000</cx:pt>
          <cx:pt idx="14969">350000</cx:pt>
          <cx:pt idx="14970">350000</cx:pt>
          <cx:pt idx="14971">350000</cx:pt>
          <cx:pt idx="14972">350000</cx:pt>
          <cx:pt idx="14973">350000</cx:pt>
          <cx:pt idx="14974">350000</cx:pt>
          <cx:pt idx="14975">350000</cx:pt>
          <cx:pt idx="14976">350000</cx:pt>
          <cx:pt idx="14977">350000</cx:pt>
          <cx:pt idx="14978">350000</cx:pt>
          <cx:pt idx="14979">350000</cx:pt>
          <cx:pt idx="14980">350000</cx:pt>
          <cx:pt idx="14981">350000</cx:pt>
          <cx:pt idx="14982">350000</cx:pt>
          <cx:pt idx="14983">350000</cx:pt>
          <cx:pt idx="14984">350000</cx:pt>
          <cx:pt idx="14985">350000</cx:pt>
          <cx:pt idx="14986">350000</cx:pt>
          <cx:pt idx="14987">350000</cx:pt>
          <cx:pt idx="14988">349990</cx:pt>
          <cx:pt idx="14989">349990</cx:pt>
          <cx:pt idx="14990">349950</cx:pt>
          <cx:pt idx="14991">349950</cx:pt>
          <cx:pt idx="14992">349950</cx:pt>
          <cx:pt idx="14993">349950</cx:pt>
          <cx:pt idx="14994">349950</cx:pt>
          <cx:pt idx="14995">349950</cx:pt>
          <cx:pt idx="14996">349950</cx:pt>
          <cx:pt idx="14997">349950</cx:pt>
          <cx:pt idx="14998">349950</cx:pt>
          <cx:pt idx="14999">349950</cx:pt>
          <cx:pt idx="15000">349950</cx:pt>
          <cx:pt idx="15001">349950</cx:pt>
          <cx:pt idx="15002">349950</cx:pt>
          <cx:pt idx="15003">349950</cx:pt>
          <cx:pt idx="15004">349950</cx:pt>
          <cx:pt idx="15005">349950</cx:pt>
          <cx:pt idx="15006">349950</cx:pt>
          <cx:pt idx="15007">349950</cx:pt>
          <cx:pt idx="15008">349950</cx:pt>
          <cx:pt idx="15009">349950</cx:pt>
          <cx:pt idx="15010">349950</cx:pt>
          <cx:pt idx="15011">349950</cx:pt>
          <cx:pt idx="15012">349950</cx:pt>
          <cx:pt idx="15013">349900</cx:pt>
          <cx:pt idx="15014">349900</cx:pt>
          <cx:pt idx="15015">349900</cx:pt>
          <cx:pt idx="15016">349900</cx:pt>
          <cx:pt idx="15017">349900</cx:pt>
          <cx:pt idx="15018">349900</cx:pt>
          <cx:pt idx="15019">349900</cx:pt>
          <cx:pt idx="15020">349900</cx:pt>
          <cx:pt idx="15021">349810</cx:pt>
          <cx:pt idx="15022">349500</cx:pt>
          <cx:pt idx="15023">349500</cx:pt>
          <cx:pt idx="15024">349500</cx:pt>
          <cx:pt idx="15025">349500</cx:pt>
          <cx:pt idx="15026">349500</cx:pt>
          <cx:pt idx="15027">349170</cx:pt>
          <cx:pt idx="15028">349000</cx:pt>
          <cx:pt idx="15029">349000</cx:pt>
          <cx:pt idx="15030">349000</cx:pt>
          <cx:pt idx="15031">349000</cx:pt>
          <cx:pt idx="15032">349000</cx:pt>
          <cx:pt idx="15033">349000</cx:pt>
          <cx:pt idx="15034">349000</cx:pt>
          <cx:pt idx="15035">349000</cx:pt>
          <cx:pt idx="15036">349000</cx:pt>
          <cx:pt idx="15037">349000</cx:pt>
          <cx:pt idx="15038">349000</cx:pt>
          <cx:pt idx="15039">349000</cx:pt>
          <cx:pt idx="15040">349000</cx:pt>
          <cx:pt idx="15041">349000</cx:pt>
          <cx:pt idx="15042">349000</cx:pt>
          <cx:pt idx="15043">349000</cx:pt>
          <cx:pt idx="15044">348580</cx:pt>
          <cx:pt idx="15045">348500</cx:pt>
          <cx:pt idx="15046">348500</cx:pt>
          <cx:pt idx="15047">348500</cx:pt>
          <cx:pt idx="15048">348450</cx:pt>
          <cx:pt idx="15049">348140</cx:pt>
          <cx:pt idx="15050">348125</cx:pt>
          <cx:pt idx="15051">348000</cx:pt>
          <cx:pt idx="15052">348000</cx:pt>
          <cx:pt idx="15053">348000</cx:pt>
          <cx:pt idx="15054">348000</cx:pt>
          <cx:pt idx="15055">348000</cx:pt>
          <cx:pt idx="15056">348000</cx:pt>
          <cx:pt idx="15057">348000</cx:pt>
          <cx:pt idx="15058">348000</cx:pt>
          <cx:pt idx="15059">348000</cx:pt>
          <cx:pt idx="15060">348000</cx:pt>
          <cx:pt idx="15061">348000</cx:pt>
          <cx:pt idx="15062">348000</cx:pt>
          <cx:pt idx="15063">348000</cx:pt>
          <cx:pt idx="15064">348000</cx:pt>
          <cx:pt idx="15065">348000</cx:pt>
          <cx:pt idx="15066">348000</cx:pt>
          <cx:pt idx="15067">347950</cx:pt>
          <cx:pt idx="15068">347500</cx:pt>
          <cx:pt idx="15069">347500</cx:pt>
          <cx:pt idx="15070">347500</cx:pt>
          <cx:pt idx="15071">347500</cx:pt>
          <cx:pt idx="15072">347500</cx:pt>
          <cx:pt idx="15073">347500</cx:pt>
          <cx:pt idx="15074">347500</cx:pt>
          <cx:pt idx="15075">347500</cx:pt>
          <cx:pt idx="15076">347500</cx:pt>
          <cx:pt idx="15077">347500</cx:pt>
          <cx:pt idx="15078">347000</cx:pt>
          <cx:pt idx="15079">347000</cx:pt>
          <cx:pt idx="15080">347000</cx:pt>
          <cx:pt idx="15081">347000</cx:pt>
          <cx:pt idx="15082">347000</cx:pt>
          <cx:pt idx="15083">347000</cx:pt>
          <cx:pt idx="15084">347000</cx:pt>
          <cx:pt idx="15085">347000</cx:pt>
          <cx:pt idx="15086">347000</cx:pt>
          <cx:pt idx="15087">347000</cx:pt>
          <cx:pt idx="15088">346950</cx:pt>
          <cx:pt idx="15089">346950</cx:pt>
          <cx:pt idx="15090">346900</cx:pt>
          <cx:pt idx="15091">346500</cx:pt>
          <cx:pt idx="15092">346500</cx:pt>
          <cx:pt idx="15093">346500</cx:pt>
          <cx:pt idx="15094">346500</cx:pt>
          <cx:pt idx="15095">346500</cx:pt>
          <cx:pt idx="15096">346300</cx:pt>
          <cx:pt idx="15097">346290</cx:pt>
          <cx:pt idx="15098">346150</cx:pt>
          <cx:pt idx="15099">346100</cx:pt>
          <cx:pt idx="15100">346100</cx:pt>
          <cx:pt idx="15101">346000</cx:pt>
          <cx:pt idx="15102">346000</cx:pt>
          <cx:pt idx="15103">346000</cx:pt>
          <cx:pt idx="15104">346000</cx:pt>
          <cx:pt idx="15105">346000</cx:pt>
          <cx:pt idx="15106">346000</cx:pt>
          <cx:pt idx="15107">346000</cx:pt>
          <cx:pt idx="15108">345950</cx:pt>
          <cx:pt idx="15109">345950</cx:pt>
          <cx:pt idx="15110">345600</cx:pt>
          <cx:pt idx="15111">345500</cx:pt>
          <cx:pt idx="15112">345500</cx:pt>
          <cx:pt idx="15113">345500</cx:pt>
          <cx:pt idx="15114">345100</cx:pt>
          <cx:pt idx="15115">345000</cx:pt>
          <cx:pt idx="15116">345000</cx:pt>
          <cx:pt idx="15117">345000</cx:pt>
          <cx:pt idx="15118">345000</cx:pt>
          <cx:pt idx="15119">345000</cx:pt>
          <cx:pt idx="15120">345000</cx:pt>
          <cx:pt idx="15121">345000</cx:pt>
          <cx:pt idx="15122">345000</cx:pt>
          <cx:pt idx="15123">345000</cx:pt>
          <cx:pt idx="15124">345000</cx:pt>
          <cx:pt idx="15125">345000</cx:pt>
          <cx:pt idx="15126">345000</cx:pt>
          <cx:pt idx="15127">345000</cx:pt>
          <cx:pt idx="15128">345000</cx:pt>
          <cx:pt idx="15129">345000</cx:pt>
          <cx:pt idx="15130">345000</cx:pt>
          <cx:pt idx="15131">345000</cx:pt>
          <cx:pt idx="15132">345000</cx:pt>
          <cx:pt idx="15133">345000</cx:pt>
          <cx:pt idx="15134">345000</cx:pt>
          <cx:pt idx="15135">345000</cx:pt>
          <cx:pt idx="15136">345000</cx:pt>
          <cx:pt idx="15137">345000</cx:pt>
          <cx:pt idx="15138">345000</cx:pt>
          <cx:pt idx="15139">345000</cx:pt>
          <cx:pt idx="15140">345000</cx:pt>
          <cx:pt idx="15141">345000</cx:pt>
          <cx:pt idx="15142">345000</cx:pt>
          <cx:pt idx="15143">345000</cx:pt>
          <cx:pt idx="15144">345000</cx:pt>
          <cx:pt idx="15145">345000</cx:pt>
          <cx:pt idx="15146">345000</cx:pt>
          <cx:pt idx="15147">345000</cx:pt>
          <cx:pt idx="15148">345000</cx:pt>
          <cx:pt idx="15149">345000</cx:pt>
          <cx:pt idx="15150">345000</cx:pt>
          <cx:pt idx="15151">345000</cx:pt>
          <cx:pt idx="15152">345000</cx:pt>
          <cx:pt idx="15153">345000</cx:pt>
          <cx:pt idx="15154">345000</cx:pt>
          <cx:pt idx="15155">345000</cx:pt>
          <cx:pt idx="15156">345000</cx:pt>
          <cx:pt idx="15157">345000</cx:pt>
          <cx:pt idx="15158">345000</cx:pt>
          <cx:pt idx="15159">345000</cx:pt>
          <cx:pt idx="15160">345000</cx:pt>
          <cx:pt idx="15161">345000</cx:pt>
          <cx:pt idx="15162">345000</cx:pt>
          <cx:pt idx="15163">345000</cx:pt>
          <cx:pt idx="15164">345000</cx:pt>
          <cx:pt idx="15165">345000</cx:pt>
          <cx:pt idx="15166">345000</cx:pt>
          <cx:pt idx="15167">345000</cx:pt>
          <cx:pt idx="15168">345000</cx:pt>
          <cx:pt idx="15169">345000</cx:pt>
          <cx:pt idx="15170">345000</cx:pt>
          <cx:pt idx="15171">345000</cx:pt>
          <cx:pt idx="15172">345000</cx:pt>
          <cx:pt idx="15173">345000</cx:pt>
          <cx:pt idx="15174">345000</cx:pt>
          <cx:pt idx="15175">345000</cx:pt>
          <cx:pt idx="15176">345000</cx:pt>
          <cx:pt idx="15177">345000</cx:pt>
          <cx:pt idx="15178">345000</cx:pt>
          <cx:pt idx="15179">345000</cx:pt>
          <cx:pt idx="15180">345000</cx:pt>
          <cx:pt idx="15181">345000</cx:pt>
          <cx:pt idx="15182">345000</cx:pt>
          <cx:pt idx="15183">345000</cx:pt>
          <cx:pt idx="15184">345000</cx:pt>
          <cx:pt idx="15185">345000</cx:pt>
          <cx:pt idx="15186">345000</cx:pt>
          <cx:pt idx="15187">345000</cx:pt>
          <cx:pt idx="15188">345000</cx:pt>
          <cx:pt idx="15189">345000</cx:pt>
          <cx:pt idx="15190">345000</cx:pt>
          <cx:pt idx="15191">345000</cx:pt>
          <cx:pt idx="15192">345000</cx:pt>
          <cx:pt idx="15193">345000</cx:pt>
          <cx:pt idx="15194">345000</cx:pt>
          <cx:pt idx="15195">345000</cx:pt>
          <cx:pt idx="15196">345000</cx:pt>
          <cx:pt idx="15197">345000</cx:pt>
          <cx:pt idx="15198">345000</cx:pt>
          <cx:pt idx="15199">345000</cx:pt>
          <cx:pt idx="15200">345000</cx:pt>
          <cx:pt idx="15201">345000</cx:pt>
          <cx:pt idx="15202">345000</cx:pt>
          <cx:pt idx="15203">345000</cx:pt>
          <cx:pt idx="15204">345000</cx:pt>
          <cx:pt idx="15205">345000</cx:pt>
          <cx:pt idx="15206">344950</cx:pt>
          <cx:pt idx="15207">344950</cx:pt>
          <cx:pt idx="15208">344950</cx:pt>
          <cx:pt idx="15209">344950</cx:pt>
          <cx:pt idx="15210">344950</cx:pt>
          <cx:pt idx="15211">344950</cx:pt>
          <cx:pt idx="15212">344900</cx:pt>
          <cx:pt idx="15213">344900</cx:pt>
          <cx:pt idx="15214">344500</cx:pt>
          <cx:pt idx="15215">344500</cx:pt>
          <cx:pt idx="15216">344200</cx:pt>
          <cx:pt idx="15217">344000</cx:pt>
          <cx:pt idx="15218">344000</cx:pt>
          <cx:pt idx="15219">344000</cx:pt>
          <cx:pt idx="15220">344000</cx:pt>
          <cx:pt idx="15221">344000</cx:pt>
          <cx:pt idx="15222">344000</cx:pt>
          <cx:pt idx="15223">344000</cx:pt>
          <cx:pt idx="15224">344000</cx:pt>
          <cx:pt idx="15225">344000</cx:pt>
          <cx:pt idx="15226">344000</cx:pt>
          <cx:pt idx="15227">343888</cx:pt>
          <cx:pt idx="15228">343566</cx:pt>
          <cx:pt idx="15229">343500</cx:pt>
          <cx:pt idx="15230">343500</cx:pt>
          <cx:pt idx="15231">343500</cx:pt>
          <cx:pt idx="15232">343000</cx:pt>
          <cx:pt idx="15233">343000</cx:pt>
          <cx:pt idx="15234">343000</cx:pt>
          <cx:pt idx="15235">343000</cx:pt>
          <cx:pt idx="15236">343000</cx:pt>
          <cx:pt idx="15237">343000</cx:pt>
          <cx:pt idx="15238">343000</cx:pt>
          <cx:pt idx="15239">343000</cx:pt>
          <cx:pt idx="15240">343000</cx:pt>
          <cx:pt idx="15241">343000</cx:pt>
          <cx:pt idx="15242">343000</cx:pt>
          <cx:pt idx="15243">343000</cx:pt>
          <cx:pt idx="15244">343000</cx:pt>
          <cx:pt idx="15245">343000</cx:pt>
          <cx:pt idx="15246">343000</cx:pt>
          <cx:pt idx="15247">343000</cx:pt>
          <cx:pt idx="15248">342888</cx:pt>
          <cx:pt idx="15249">342500</cx:pt>
          <cx:pt idx="15250">342500</cx:pt>
          <cx:pt idx="15251">342500</cx:pt>
          <cx:pt idx="15252">342500</cx:pt>
          <cx:pt idx="15253">342500</cx:pt>
          <cx:pt idx="15254">342500</cx:pt>
          <cx:pt idx="15255">342450</cx:pt>
          <cx:pt idx="15256">342400</cx:pt>
          <cx:pt idx="15257">342000</cx:pt>
          <cx:pt idx="15258">342000</cx:pt>
          <cx:pt idx="15259">342000</cx:pt>
          <cx:pt idx="15260">342000</cx:pt>
          <cx:pt idx="15261">342000</cx:pt>
          <cx:pt idx="15262">342000</cx:pt>
          <cx:pt idx="15263">342000</cx:pt>
          <cx:pt idx="15264">342000</cx:pt>
          <cx:pt idx="15265">342000</cx:pt>
          <cx:pt idx="15266">342000</cx:pt>
          <cx:pt idx="15267">342000</cx:pt>
          <cx:pt idx="15268">342000</cx:pt>
          <cx:pt idx="15269">342000</cx:pt>
          <cx:pt idx="15270">342000</cx:pt>
          <cx:pt idx="15271">342000</cx:pt>
          <cx:pt idx="15272">342000</cx:pt>
          <cx:pt idx="15273">342000</cx:pt>
          <cx:pt idx="15274">342000</cx:pt>
          <cx:pt idx="15275">342000</cx:pt>
          <cx:pt idx="15276">342000</cx:pt>
          <cx:pt idx="15277">342000</cx:pt>
          <cx:pt idx="15278">341950</cx:pt>
          <cx:pt idx="15279">341780</cx:pt>
          <cx:pt idx="15280">341500</cx:pt>
          <cx:pt idx="15281">341500</cx:pt>
          <cx:pt idx="15282">341000</cx:pt>
          <cx:pt idx="15283">341000</cx:pt>
          <cx:pt idx="15284">341000</cx:pt>
          <cx:pt idx="15285">341000</cx:pt>
          <cx:pt idx="15286">341000</cx:pt>
          <cx:pt idx="15287">341000</cx:pt>
          <cx:pt idx="15288">341000</cx:pt>
          <cx:pt idx="15289">340895</cx:pt>
          <cx:pt idx="15290">340768</cx:pt>
          <cx:pt idx="15291">340500</cx:pt>
          <cx:pt idx="15292">340500</cx:pt>
          <cx:pt idx="15293">340500</cx:pt>
          <cx:pt idx="15294">340500</cx:pt>
          <cx:pt idx="15295">340500</cx:pt>
          <cx:pt idx="15296">340000</cx:pt>
          <cx:pt idx="15297">340000</cx:pt>
          <cx:pt idx="15298">340000</cx:pt>
          <cx:pt idx="15299">340000</cx:pt>
          <cx:pt idx="15300">340000</cx:pt>
          <cx:pt idx="15301">340000</cx:pt>
          <cx:pt idx="15302">340000</cx:pt>
          <cx:pt idx="15303">340000</cx:pt>
          <cx:pt idx="15304">340000</cx:pt>
          <cx:pt idx="15305">340000</cx:pt>
          <cx:pt idx="15306">340000</cx:pt>
          <cx:pt idx="15307">340000</cx:pt>
          <cx:pt idx="15308">340000</cx:pt>
          <cx:pt idx="15309">340000</cx:pt>
          <cx:pt idx="15310">340000</cx:pt>
          <cx:pt idx="15311">340000</cx:pt>
          <cx:pt idx="15312">340000</cx:pt>
          <cx:pt idx="15313">340000</cx:pt>
          <cx:pt idx="15314">340000</cx:pt>
          <cx:pt idx="15315">340000</cx:pt>
          <cx:pt idx="15316">340000</cx:pt>
          <cx:pt idx="15317">340000</cx:pt>
          <cx:pt idx="15318">340000</cx:pt>
          <cx:pt idx="15319">340000</cx:pt>
          <cx:pt idx="15320">340000</cx:pt>
          <cx:pt idx="15321">340000</cx:pt>
          <cx:pt idx="15322">340000</cx:pt>
          <cx:pt idx="15323">340000</cx:pt>
          <cx:pt idx="15324">340000</cx:pt>
          <cx:pt idx="15325">340000</cx:pt>
          <cx:pt idx="15326">340000</cx:pt>
          <cx:pt idx="15327">340000</cx:pt>
          <cx:pt idx="15328">340000</cx:pt>
          <cx:pt idx="15329">340000</cx:pt>
          <cx:pt idx="15330">340000</cx:pt>
          <cx:pt idx="15331">340000</cx:pt>
          <cx:pt idx="15332">340000</cx:pt>
          <cx:pt idx="15333">340000</cx:pt>
          <cx:pt idx="15334">340000</cx:pt>
          <cx:pt idx="15335">340000</cx:pt>
          <cx:pt idx="15336">340000</cx:pt>
          <cx:pt idx="15337">340000</cx:pt>
          <cx:pt idx="15338">340000</cx:pt>
          <cx:pt idx="15339">340000</cx:pt>
          <cx:pt idx="15340">340000</cx:pt>
          <cx:pt idx="15341">340000</cx:pt>
          <cx:pt idx="15342">340000</cx:pt>
          <cx:pt idx="15343">340000</cx:pt>
          <cx:pt idx="15344">340000</cx:pt>
          <cx:pt idx="15345">340000</cx:pt>
          <cx:pt idx="15346">340000</cx:pt>
          <cx:pt idx="15347">340000</cx:pt>
          <cx:pt idx="15348">340000</cx:pt>
          <cx:pt idx="15349">340000</cx:pt>
          <cx:pt idx="15350">340000</cx:pt>
          <cx:pt idx="15351">340000</cx:pt>
          <cx:pt idx="15352">340000</cx:pt>
          <cx:pt idx="15353">340000</cx:pt>
          <cx:pt idx="15354">340000</cx:pt>
          <cx:pt idx="15355">340000</cx:pt>
          <cx:pt idx="15356">340000</cx:pt>
          <cx:pt idx="15357">340000</cx:pt>
          <cx:pt idx="15358">340000</cx:pt>
          <cx:pt idx="15359">340000</cx:pt>
          <cx:pt idx="15360">340000</cx:pt>
          <cx:pt idx="15361">340000</cx:pt>
          <cx:pt idx="15362">340000</cx:pt>
          <cx:pt idx="15363">340000</cx:pt>
          <cx:pt idx="15364">340000</cx:pt>
          <cx:pt idx="15365">340000</cx:pt>
          <cx:pt idx="15366">340000</cx:pt>
          <cx:pt idx="15367">340000</cx:pt>
          <cx:pt idx="15368">340000</cx:pt>
          <cx:pt idx="15369">340000</cx:pt>
          <cx:pt idx="15370">340000</cx:pt>
          <cx:pt idx="15371">340000</cx:pt>
          <cx:pt idx="15372">340000</cx:pt>
          <cx:pt idx="15373">340000</cx:pt>
          <cx:pt idx="15374">340000</cx:pt>
          <cx:pt idx="15375">340000</cx:pt>
          <cx:pt idx="15376">340000</cx:pt>
          <cx:pt idx="15377">340000</cx:pt>
          <cx:pt idx="15378">340000</cx:pt>
          <cx:pt idx="15379">340000</cx:pt>
          <cx:pt idx="15380">340000</cx:pt>
          <cx:pt idx="15381">340000</cx:pt>
          <cx:pt idx="15382">340000</cx:pt>
          <cx:pt idx="15383">340000</cx:pt>
          <cx:pt idx="15384">340000</cx:pt>
          <cx:pt idx="15385">340000</cx:pt>
          <cx:pt idx="15386">340000</cx:pt>
          <cx:pt idx="15387">340000</cx:pt>
          <cx:pt idx="15388">340000</cx:pt>
          <cx:pt idx="15389">340000</cx:pt>
          <cx:pt idx="15390">340000</cx:pt>
          <cx:pt idx="15391">340000</cx:pt>
          <cx:pt idx="15392">340000</cx:pt>
          <cx:pt idx="15393">340000</cx:pt>
          <cx:pt idx="15394">340000</cx:pt>
          <cx:pt idx="15395">340000</cx:pt>
          <cx:pt idx="15396">340000</cx:pt>
          <cx:pt idx="15397">340000</cx:pt>
          <cx:pt idx="15398">340000</cx:pt>
          <cx:pt idx="15399">339999</cx:pt>
          <cx:pt idx="15400">339999</cx:pt>
          <cx:pt idx="15401">339995</cx:pt>
          <cx:pt idx="15402">339990</cx:pt>
          <cx:pt idx="15403">339989</cx:pt>
          <cx:pt idx="15404">339950</cx:pt>
          <cx:pt idx="15405">339950</cx:pt>
          <cx:pt idx="15406">339950</cx:pt>
          <cx:pt idx="15407">339950</cx:pt>
          <cx:pt idx="15408">339950</cx:pt>
          <cx:pt idx="15409">339950</cx:pt>
          <cx:pt idx="15410">339950</cx:pt>
          <cx:pt idx="15411">339950</cx:pt>
          <cx:pt idx="15412">339950</cx:pt>
          <cx:pt idx="15413">339950</cx:pt>
          <cx:pt idx="15414">339950</cx:pt>
          <cx:pt idx="15415">339950</cx:pt>
          <cx:pt idx="15416">339950</cx:pt>
          <cx:pt idx="15417">339950</cx:pt>
          <cx:pt idx="15418">339950</cx:pt>
          <cx:pt idx="15419">339950</cx:pt>
          <cx:pt idx="15420">339950</cx:pt>
          <cx:pt idx="15421">339900</cx:pt>
          <cx:pt idx="15422">339900</cx:pt>
          <cx:pt idx="15423">339900</cx:pt>
          <cx:pt idx="15424">339900</cx:pt>
          <cx:pt idx="15425">339900</cx:pt>
          <cx:pt idx="15426">339900</cx:pt>
          <cx:pt idx="15427">339888</cx:pt>
          <cx:pt idx="15428">339888</cx:pt>
          <cx:pt idx="15429">339500</cx:pt>
          <cx:pt idx="15430">339300</cx:pt>
          <cx:pt idx="15431">339275</cx:pt>
          <cx:pt idx="15432">339100</cx:pt>
          <cx:pt idx="15433">339000</cx:pt>
          <cx:pt idx="15434">339000</cx:pt>
          <cx:pt idx="15435">339000</cx:pt>
          <cx:pt idx="15436">339000</cx:pt>
          <cx:pt idx="15437">339000</cx:pt>
          <cx:pt idx="15438">339000</cx:pt>
          <cx:pt idx="15439">339000</cx:pt>
          <cx:pt idx="15440">339000</cx:pt>
          <cx:pt idx="15441">339000</cx:pt>
          <cx:pt idx="15442">339000</cx:pt>
          <cx:pt idx="15443">339000</cx:pt>
          <cx:pt idx="15444">339000</cx:pt>
          <cx:pt idx="15445">339000</cx:pt>
          <cx:pt idx="15446">339000</cx:pt>
          <cx:pt idx="15447">339000</cx:pt>
          <cx:pt idx="15448">339000</cx:pt>
          <cx:pt idx="15449">339000</cx:pt>
          <cx:pt idx="15450">339000</cx:pt>
          <cx:pt idx="15451">338995</cx:pt>
          <cx:pt idx="15452">338950</cx:pt>
          <cx:pt idx="15453">338900</cx:pt>
          <cx:pt idx="15454">338900</cx:pt>
          <cx:pt idx="15455">338900</cx:pt>
          <cx:pt idx="15456">338800</cx:pt>
          <cx:pt idx="15457">338500</cx:pt>
          <cx:pt idx="15458">338500</cx:pt>
          <cx:pt idx="15459">338500</cx:pt>
          <cx:pt idx="15460">338500</cx:pt>
          <cx:pt idx="15461">338500</cx:pt>
          <cx:pt idx="15462">338500</cx:pt>
          <cx:pt idx="15463">338150</cx:pt>
          <cx:pt idx="15464">338000</cx:pt>
          <cx:pt idx="15465">338000</cx:pt>
          <cx:pt idx="15466">338000</cx:pt>
          <cx:pt idx="15467">338000</cx:pt>
          <cx:pt idx="15468">338000</cx:pt>
          <cx:pt idx="15469">338000</cx:pt>
          <cx:pt idx="15470">338000</cx:pt>
          <cx:pt idx="15471">338000</cx:pt>
          <cx:pt idx="15472">338000</cx:pt>
          <cx:pt idx="15473">338000</cx:pt>
          <cx:pt idx="15474">338000</cx:pt>
          <cx:pt idx="15475">338000</cx:pt>
          <cx:pt idx="15476">338000</cx:pt>
          <cx:pt idx="15477">338000</cx:pt>
          <cx:pt idx="15478">338000</cx:pt>
          <cx:pt idx="15479">337900</cx:pt>
          <cx:pt idx="15480">337500</cx:pt>
          <cx:pt idx="15481">337500</cx:pt>
          <cx:pt idx="15482">337500</cx:pt>
          <cx:pt idx="15483">337500</cx:pt>
          <cx:pt idx="15484">337500</cx:pt>
          <cx:pt idx="15485">337500</cx:pt>
          <cx:pt idx="15486">337500</cx:pt>
          <cx:pt idx="15487">337000</cx:pt>
          <cx:pt idx="15488">337000</cx:pt>
          <cx:pt idx="15489">337000</cx:pt>
          <cx:pt idx="15490">337000</cx:pt>
          <cx:pt idx="15491">337000</cx:pt>
          <cx:pt idx="15492">337000</cx:pt>
          <cx:pt idx="15493">337000</cx:pt>
          <cx:pt idx="15494">337000</cx:pt>
          <cx:pt idx="15495">337000</cx:pt>
          <cx:pt idx="15496">337000</cx:pt>
          <cx:pt idx="15497">337000</cx:pt>
          <cx:pt idx="15498">337000</cx:pt>
          <cx:pt idx="15499">337000</cx:pt>
          <cx:pt idx="15500">337000</cx:pt>
          <cx:pt idx="15501">337000</cx:pt>
          <cx:pt idx="15502">336950</cx:pt>
          <cx:pt idx="15503">336900</cx:pt>
          <cx:pt idx="15504">336900</cx:pt>
          <cx:pt idx="15505">336800</cx:pt>
          <cx:pt idx="15506">336750</cx:pt>
          <cx:pt idx="15507">336750</cx:pt>
          <cx:pt idx="15508">336600</cx:pt>
          <cx:pt idx="15509">336500</cx:pt>
          <cx:pt idx="15510">336500</cx:pt>
          <cx:pt idx="15511">336500</cx:pt>
          <cx:pt idx="15512">336500</cx:pt>
          <cx:pt idx="15513">336500</cx:pt>
          <cx:pt idx="15514">336000</cx:pt>
          <cx:pt idx="15515">336000</cx:pt>
          <cx:pt idx="15516">336000</cx:pt>
          <cx:pt idx="15517">336000</cx:pt>
          <cx:pt idx="15518">336000</cx:pt>
          <cx:pt idx="15519">336000</cx:pt>
          <cx:pt idx="15520">336000</cx:pt>
          <cx:pt idx="15521">336000</cx:pt>
          <cx:pt idx="15522">336000</cx:pt>
          <cx:pt idx="15523">336000</cx:pt>
          <cx:pt idx="15524">336000</cx:pt>
          <cx:pt idx="15525">336000</cx:pt>
          <cx:pt idx="15526">335950</cx:pt>
          <cx:pt idx="15527">335900</cx:pt>
          <cx:pt idx="15528">335900</cx:pt>
          <cx:pt idx="15529">335750</cx:pt>
          <cx:pt idx="15530">335620</cx:pt>
          <cx:pt idx="15531">335606</cx:pt>
          <cx:pt idx="15532">335500</cx:pt>
          <cx:pt idx="15533">335500</cx:pt>
          <cx:pt idx="15534">335500</cx:pt>
          <cx:pt idx="15535">335000</cx:pt>
          <cx:pt idx="15536">335000</cx:pt>
          <cx:pt idx="15537">335000</cx:pt>
          <cx:pt idx="15538">335000</cx:pt>
          <cx:pt idx="15539">335000</cx:pt>
          <cx:pt idx="15540">335000</cx:pt>
          <cx:pt idx="15541">335000</cx:pt>
          <cx:pt idx="15542">335000</cx:pt>
          <cx:pt idx="15543">335000</cx:pt>
          <cx:pt idx="15544">335000</cx:pt>
          <cx:pt idx="15545">335000</cx:pt>
          <cx:pt idx="15546">335000</cx:pt>
          <cx:pt idx="15547">335000</cx:pt>
          <cx:pt idx="15548">335000</cx:pt>
          <cx:pt idx="15549">335000</cx:pt>
          <cx:pt idx="15550">335000</cx:pt>
          <cx:pt idx="15551">335000</cx:pt>
          <cx:pt idx="15552">335000</cx:pt>
          <cx:pt idx="15553">335000</cx:pt>
          <cx:pt idx="15554">335000</cx:pt>
          <cx:pt idx="15555">335000</cx:pt>
          <cx:pt idx="15556">335000</cx:pt>
          <cx:pt idx="15557">335000</cx:pt>
          <cx:pt idx="15558">335000</cx:pt>
          <cx:pt idx="15559">335000</cx:pt>
          <cx:pt idx="15560">335000</cx:pt>
          <cx:pt idx="15561">335000</cx:pt>
          <cx:pt idx="15562">335000</cx:pt>
          <cx:pt idx="15563">335000</cx:pt>
          <cx:pt idx="15564">335000</cx:pt>
          <cx:pt idx="15565">335000</cx:pt>
          <cx:pt idx="15566">335000</cx:pt>
          <cx:pt idx="15567">335000</cx:pt>
          <cx:pt idx="15568">335000</cx:pt>
          <cx:pt idx="15569">335000</cx:pt>
          <cx:pt idx="15570">335000</cx:pt>
          <cx:pt idx="15571">335000</cx:pt>
          <cx:pt idx="15572">335000</cx:pt>
          <cx:pt idx="15573">335000</cx:pt>
          <cx:pt idx="15574">335000</cx:pt>
          <cx:pt idx="15575">335000</cx:pt>
          <cx:pt idx="15576">335000</cx:pt>
          <cx:pt idx="15577">335000</cx:pt>
          <cx:pt idx="15578">335000</cx:pt>
          <cx:pt idx="15579">335000</cx:pt>
          <cx:pt idx="15580">335000</cx:pt>
          <cx:pt idx="15581">335000</cx:pt>
          <cx:pt idx="15582">335000</cx:pt>
          <cx:pt idx="15583">335000</cx:pt>
          <cx:pt idx="15584">335000</cx:pt>
          <cx:pt idx="15585">335000</cx:pt>
          <cx:pt idx="15586">335000</cx:pt>
          <cx:pt idx="15587">335000</cx:pt>
          <cx:pt idx="15588">335000</cx:pt>
          <cx:pt idx="15589">335000</cx:pt>
          <cx:pt idx="15590">335000</cx:pt>
          <cx:pt idx="15591">335000</cx:pt>
          <cx:pt idx="15592">335000</cx:pt>
          <cx:pt idx="15593">335000</cx:pt>
          <cx:pt idx="15594">335000</cx:pt>
          <cx:pt idx="15595">335000</cx:pt>
          <cx:pt idx="15596">335000</cx:pt>
          <cx:pt idx="15597">335000</cx:pt>
          <cx:pt idx="15598">335000</cx:pt>
          <cx:pt idx="15599">335000</cx:pt>
          <cx:pt idx="15600">335000</cx:pt>
          <cx:pt idx="15601">335000</cx:pt>
          <cx:pt idx="15602">335000</cx:pt>
          <cx:pt idx="15603">335000</cx:pt>
          <cx:pt idx="15604">335000</cx:pt>
          <cx:pt idx="15605">335000</cx:pt>
          <cx:pt idx="15606">335000</cx:pt>
          <cx:pt idx="15607">335000</cx:pt>
          <cx:pt idx="15608">335000</cx:pt>
          <cx:pt idx="15609">335000</cx:pt>
          <cx:pt idx="15610">335000</cx:pt>
          <cx:pt idx="15611">335000</cx:pt>
          <cx:pt idx="15612">335000</cx:pt>
          <cx:pt idx="15613">335000</cx:pt>
          <cx:pt idx="15614">335000</cx:pt>
          <cx:pt idx="15615">335000</cx:pt>
          <cx:pt idx="15616">335000</cx:pt>
          <cx:pt idx="15617">335000</cx:pt>
          <cx:pt idx="15618">335000</cx:pt>
          <cx:pt idx="15619">335000</cx:pt>
          <cx:pt idx="15620">335000</cx:pt>
          <cx:pt idx="15621">335000</cx:pt>
          <cx:pt idx="15622">335000</cx:pt>
          <cx:pt idx="15623">335000</cx:pt>
          <cx:pt idx="15624">335000</cx:pt>
          <cx:pt idx="15625">335000</cx:pt>
          <cx:pt idx="15626">335000</cx:pt>
          <cx:pt idx="15627">335000</cx:pt>
          <cx:pt idx="15628">335000</cx:pt>
          <cx:pt idx="15629">335000</cx:pt>
          <cx:pt idx="15630">335000</cx:pt>
          <cx:pt idx="15631">335000</cx:pt>
          <cx:pt idx="15632">335000</cx:pt>
          <cx:pt idx="15633">334999</cx:pt>
          <cx:pt idx="15634">334998</cx:pt>
          <cx:pt idx="15635">334990</cx:pt>
          <cx:pt idx="15636">334950</cx:pt>
          <cx:pt idx="15637">334950</cx:pt>
          <cx:pt idx="15638">334950</cx:pt>
          <cx:pt idx="15639">334950</cx:pt>
          <cx:pt idx="15640">334950</cx:pt>
          <cx:pt idx="15641">334950</cx:pt>
          <cx:pt idx="15642">334950</cx:pt>
          <cx:pt idx="15643">334950</cx:pt>
          <cx:pt idx="15644">334900</cx:pt>
          <cx:pt idx="15645">334900</cx:pt>
          <cx:pt idx="15646">334888</cx:pt>
          <cx:pt idx="15647">334850</cx:pt>
          <cx:pt idx="15648">334550</cx:pt>
          <cx:pt idx="15649">334500</cx:pt>
          <cx:pt idx="15650">334500</cx:pt>
          <cx:pt idx="15651">334500</cx:pt>
          <cx:pt idx="15652">334200</cx:pt>
          <cx:pt idx="15653">334009</cx:pt>
          <cx:pt idx="15654">334000</cx:pt>
          <cx:pt idx="15655">334000</cx:pt>
          <cx:pt idx="15656">334000</cx:pt>
          <cx:pt idx="15657">334000</cx:pt>
          <cx:pt idx="15658">334000</cx:pt>
          <cx:pt idx="15659">334000</cx:pt>
          <cx:pt idx="15660">334000</cx:pt>
          <cx:pt idx="15661">334000</cx:pt>
          <cx:pt idx="15662">334000</cx:pt>
          <cx:pt idx="15663">334000</cx:pt>
          <cx:pt idx="15664">334000</cx:pt>
          <cx:pt idx="15665">334000</cx:pt>
          <cx:pt idx="15666">333800</cx:pt>
          <cx:pt idx="15667">333760</cx:pt>
          <cx:pt idx="15668">333700</cx:pt>
          <cx:pt idx="15669">333500</cx:pt>
          <cx:pt idx="15670">333500</cx:pt>
          <cx:pt idx="15671">333500</cx:pt>
          <cx:pt idx="15672">333500</cx:pt>
          <cx:pt idx="15673">333490</cx:pt>
          <cx:pt idx="15674">333000</cx:pt>
          <cx:pt idx="15675">333000</cx:pt>
          <cx:pt idx="15676">333000</cx:pt>
          <cx:pt idx="15677">333000</cx:pt>
          <cx:pt idx="15678">333000</cx:pt>
          <cx:pt idx="15679">333000</cx:pt>
          <cx:pt idx="15680">333000</cx:pt>
          <cx:pt idx="15681">333000</cx:pt>
          <cx:pt idx="15682">333000</cx:pt>
          <cx:pt idx="15683">333000</cx:pt>
          <cx:pt idx="15684">333000</cx:pt>
          <cx:pt idx="15685">333000</cx:pt>
          <cx:pt idx="15686">333000</cx:pt>
          <cx:pt idx="15687">333000</cx:pt>
          <cx:pt idx="15688">333000</cx:pt>
          <cx:pt idx="15689">333000</cx:pt>
          <cx:pt idx="15690">333000</cx:pt>
          <cx:pt idx="15691">332900</cx:pt>
          <cx:pt idx="15692">332888</cx:pt>
          <cx:pt idx="15693">332544</cx:pt>
          <cx:pt idx="15694">332500</cx:pt>
          <cx:pt idx="15695">332500</cx:pt>
          <cx:pt idx="15696">332500</cx:pt>
          <cx:pt idx="15697">332500</cx:pt>
          <cx:pt idx="15698">332500</cx:pt>
          <cx:pt idx="15699">332500</cx:pt>
          <cx:pt idx="15700">332500</cx:pt>
          <cx:pt idx="15701">332220</cx:pt>
          <cx:pt idx="15702">332100</cx:pt>
          <cx:pt idx="15703">332000</cx:pt>
          <cx:pt idx="15704">332000</cx:pt>
          <cx:pt idx="15705">332000</cx:pt>
          <cx:pt idx="15706">332000</cx:pt>
          <cx:pt idx="15707">332000</cx:pt>
          <cx:pt idx="15708">332000</cx:pt>
          <cx:pt idx="15709">332000</cx:pt>
          <cx:pt idx="15710">332000</cx:pt>
          <cx:pt idx="15711">332000</cx:pt>
          <cx:pt idx="15712">332000</cx:pt>
          <cx:pt idx="15713">332000</cx:pt>
          <cx:pt idx="15714">332000</cx:pt>
          <cx:pt idx="15715">332000</cx:pt>
          <cx:pt idx="15716">331950</cx:pt>
          <cx:pt idx="15717">331500</cx:pt>
          <cx:pt idx="15718">331500</cx:pt>
          <cx:pt idx="15719">331500</cx:pt>
          <cx:pt idx="15720">331292</cx:pt>
          <cx:pt idx="15721">331210</cx:pt>
          <cx:pt idx="15722">331000</cx:pt>
          <cx:pt idx="15723">331000</cx:pt>
          <cx:pt idx="15724">331000</cx:pt>
          <cx:pt idx="15725">331000</cx:pt>
          <cx:pt idx="15726">331000</cx:pt>
          <cx:pt idx="15727">331000</cx:pt>
          <cx:pt idx="15728">330950</cx:pt>
          <cx:pt idx="15729">330675</cx:pt>
          <cx:pt idx="15730">330600</cx:pt>
          <cx:pt idx="15731">330490</cx:pt>
          <cx:pt idx="15732">330000</cx:pt>
          <cx:pt idx="15733">330000</cx:pt>
          <cx:pt idx="15734">330000</cx:pt>
          <cx:pt idx="15735">330000</cx:pt>
          <cx:pt idx="15736">330000</cx:pt>
          <cx:pt idx="15737">330000</cx:pt>
          <cx:pt idx="15738">330000</cx:pt>
          <cx:pt idx="15739">330000</cx:pt>
          <cx:pt idx="15740">330000</cx:pt>
          <cx:pt idx="15741">330000</cx:pt>
          <cx:pt idx="15742">330000</cx:pt>
          <cx:pt idx="15743">330000</cx:pt>
          <cx:pt idx="15744">330000</cx:pt>
          <cx:pt idx="15745">330000</cx:pt>
          <cx:pt idx="15746">330000</cx:pt>
          <cx:pt idx="15747">330000</cx:pt>
          <cx:pt idx="15748">330000</cx:pt>
          <cx:pt idx="15749">330000</cx:pt>
          <cx:pt idx="15750">330000</cx:pt>
          <cx:pt idx="15751">330000</cx:pt>
          <cx:pt idx="15752">330000</cx:pt>
          <cx:pt idx="15753">330000</cx:pt>
          <cx:pt idx="15754">330000</cx:pt>
          <cx:pt idx="15755">330000</cx:pt>
          <cx:pt idx="15756">330000</cx:pt>
          <cx:pt idx="15757">330000</cx:pt>
          <cx:pt idx="15758">330000</cx:pt>
          <cx:pt idx="15759">330000</cx:pt>
          <cx:pt idx="15760">330000</cx:pt>
          <cx:pt idx="15761">330000</cx:pt>
          <cx:pt idx="15762">330000</cx:pt>
          <cx:pt idx="15763">330000</cx:pt>
          <cx:pt idx="15764">330000</cx:pt>
          <cx:pt idx="15765">330000</cx:pt>
          <cx:pt idx="15766">330000</cx:pt>
          <cx:pt idx="15767">330000</cx:pt>
          <cx:pt idx="15768">330000</cx:pt>
          <cx:pt idx="15769">330000</cx:pt>
          <cx:pt idx="15770">330000</cx:pt>
          <cx:pt idx="15771">330000</cx:pt>
          <cx:pt idx="15772">330000</cx:pt>
          <cx:pt idx="15773">330000</cx:pt>
          <cx:pt idx="15774">330000</cx:pt>
          <cx:pt idx="15775">330000</cx:pt>
          <cx:pt idx="15776">330000</cx:pt>
          <cx:pt idx="15777">330000</cx:pt>
          <cx:pt idx="15778">330000</cx:pt>
          <cx:pt idx="15779">330000</cx:pt>
          <cx:pt idx="15780">330000</cx:pt>
          <cx:pt idx="15781">330000</cx:pt>
          <cx:pt idx="15782">330000</cx:pt>
          <cx:pt idx="15783">330000</cx:pt>
          <cx:pt idx="15784">330000</cx:pt>
          <cx:pt idx="15785">330000</cx:pt>
          <cx:pt idx="15786">330000</cx:pt>
          <cx:pt idx="15787">330000</cx:pt>
          <cx:pt idx="15788">330000</cx:pt>
          <cx:pt idx="15789">330000</cx:pt>
          <cx:pt idx="15790">330000</cx:pt>
          <cx:pt idx="15791">330000</cx:pt>
          <cx:pt idx="15792">330000</cx:pt>
          <cx:pt idx="15793">330000</cx:pt>
          <cx:pt idx="15794">330000</cx:pt>
          <cx:pt idx="15795">330000</cx:pt>
          <cx:pt idx="15796">330000</cx:pt>
          <cx:pt idx="15797">330000</cx:pt>
          <cx:pt idx="15798">330000</cx:pt>
          <cx:pt idx="15799">330000</cx:pt>
          <cx:pt idx="15800">330000</cx:pt>
          <cx:pt idx="15801">330000</cx:pt>
          <cx:pt idx="15802">330000</cx:pt>
          <cx:pt idx="15803">330000</cx:pt>
          <cx:pt idx="15804">330000</cx:pt>
          <cx:pt idx="15805">330000</cx:pt>
          <cx:pt idx="15806">330000</cx:pt>
          <cx:pt idx="15807">330000</cx:pt>
          <cx:pt idx="15808">330000</cx:pt>
          <cx:pt idx="15809">330000</cx:pt>
          <cx:pt idx="15810">330000</cx:pt>
          <cx:pt idx="15811">330000</cx:pt>
          <cx:pt idx="15812">330000</cx:pt>
          <cx:pt idx="15813">330000</cx:pt>
          <cx:pt idx="15814">330000</cx:pt>
          <cx:pt idx="15815">330000</cx:pt>
          <cx:pt idx="15816">330000</cx:pt>
          <cx:pt idx="15817">330000</cx:pt>
          <cx:pt idx="15818">330000</cx:pt>
          <cx:pt idx="15819">330000</cx:pt>
          <cx:pt idx="15820">330000</cx:pt>
          <cx:pt idx="15821">330000</cx:pt>
          <cx:pt idx="15822">330000</cx:pt>
          <cx:pt idx="15823">330000</cx:pt>
          <cx:pt idx="15824">330000</cx:pt>
          <cx:pt idx="15825">330000</cx:pt>
          <cx:pt idx="15826">330000</cx:pt>
          <cx:pt idx="15827">330000</cx:pt>
          <cx:pt idx="15828">330000</cx:pt>
          <cx:pt idx="15829">330000</cx:pt>
          <cx:pt idx="15830">330000</cx:pt>
          <cx:pt idx="15831">330000</cx:pt>
          <cx:pt idx="15832">330000</cx:pt>
          <cx:pt idx="15833">330000</cx:pt>
          <cx:pt idx="15834">330000</cx:pt>
          <cx:pt idx="15835">330000</cx:pt>
          <cx:pt idx="15836">330000</cx:pt>
          <cx:pt idx="15837">330000</cx:pt>
          <cx:pt idx="15838">330000</cx:pt>
          <cx:pt idx="15839">330000</cx:pt>
          <cx:pt idx="15840">330000</cx:pt>
          <cx:pt idx="15841">330000</cx:pt>
          <cx:pt idx="15842">330000</cx:pt>
          <cx:pt idx="15843">330000</cx:pt>
          <cx:pt idx="15844">330000</cx:pt>
          <cx:pt idx="15845">330000</cx:pt>
          <cx:pt idx="15846">330000</cx:pt>
          <cx:pt idx="15847">330000</cx:pt>
          <cx:pt idx="15848">330000</cx:pt>
          <cx:pt idx="15849">330000</cx:pt>
          <cx:pt idx="15850">330000</cx:pt>
          <cx:pt idx="15851">329999</cx:pt>
          <cx:pt idx="15852">329999</cx:pt>
          <cx:pt idx="15853">329995</cx:pt>
          <cx:pt idx="15854">329990</cx:pt>
          <cx:pt idx="15855">329950</cx:pt>
          <cx:pt idx="15856">329950</cx:pt>
          <cx:pt idx="15857">329950</cx:pt>
          <cx:pt idx="15858">329950</cx:pt>
          <cx:pt idx="15859">329950</cx:pt>
          <cx:pt idx="15860">329950</cx:pt>
          <cx:pt idx="15861">329950</cx:pt>
          <cx:pt idx="15862">329950</cx:pt>
          <cx:pt idx="15863">329950</cx:pt>
          <cx:pt idx="15864">329950</cx:pt>
          <cx:pt idx="15865">329950</cx:pt>
          <cx:pt idx="15866">329950</cx:pt>
          <cx:pt idx="15867">329950</cx:pt>
          <cx:pt idx="15868">329950</cx:pt>
          <cx:pt idx="15869">329950</cx:pt>
          <cx:pt idx="15870">329950</cx:pt>
          <cx:pt idx="15871">329950</cx:pt>
          <cx:pt idx="15872">329950</cx:pt>
          <cx:pt idx="15873">329932</cx:pt>
          <cx:pt idx="15874">329922</cx:pt>
          <cx:pt idx="15875">329900</cx:pt>
          <cx:pt idx="15876">329900</cx:pt>
          <cx:pt idx="15877">329900</cx:pt>
          <cx:pt idx="15878">329900</cx:pt>
          <cx:pt idx="15879">329900</cx:pt>
          <cx:pt idx="15880">329900</cx:pt>
          <cx:pt idx="15881">329800</cx:pt>
          <cx:pt idx="15882">329780</cx:pt>
          <cx:pt idx="15883">329500</cx:pt>
          <cx:pt idx="15884">329500</cx:pt>
          <cx:pt idx="15885">329500</cx:pt>
          <cx:pt idx="15886">329500</cx:pt>
          <cx:pt idx="15887">329500</cx:pt>
          <cx:pt idx="15888">329500</cx:pt>
          <cx:pt idx="15889">329445</cx:pt>
          <cx:pt idx="15890">329350</cx:pt>
          <cx:pt idx="15891">329000</cx:pt>
          <cx:pt idx="15892">329000</cx:pt>
          <cx:pt idx="15893">329000</cx:pt>
          <cx:pt idx="15894">329000</cx:pt>
          <cx:pt idx="15895">329000</cx:pt>
          <cx:pt idx="15896">329000</cx:pt>
          <cx:pt idx="15897">329000</cx:pt>
          <cx:pt idx="15898">329000</cx:pt>
          <cx:pt idx="15899">329000</cx:pt>
          <cx:pt idx="15900">329000</cx:pt>
          <cx:pt idx="15901">329000</cx:pt>
          <cx:pt idx="15902">329000</cx:pt>
          <cx:pt idx="15903">329000</cx:pt>
          <cx:pt idx="15904">329000</cx:pt>
          <cx:pt idx="15905">329000</cx:pt>
          <cx:pt idx="15906">329000</cx:pt>
          <cx:pt idx="15907">329000</cx:pt>
          <cx:pt idx="15908">329000</cx:pt>
          <cx:pt idx="15909">328950</cx:pt>
          <cx:pt idx="15910">328500</cx:pt>
          <cx:pt idx="15911">328500</cx:pt>
          <cx:pt idx="15912">328500</cx:pt>
          <cx:pt idx="15913">328423</cx:pt>
          <cx:pt idx="15914">328000</cx:pt>
          <cx:pt idx="15915">328000</cx:pt>
          <cx:pt idx="15916">328000</cx:pt>
          <cx:pt idx="15917">328000</cx:pt>
          <cx:pt idx="15918">328000</cx:pt>
          <cx:pt idx="15919">328000</cx:pt>
          <cx:pt idx="15920">328000</cx:pt>
          <cx:pt idx="15921">328000</cx:pt>
          <cx:pt idx="15922">328000</cx:pt>
          <cx:pt idx="15923">328000</cx:pt>
          <cx:pt idx="15924">328000</cx:pt>
          <cx:pt idx="15925">328000</cx:pt>
          <cx:pt idx="15926">328000</cx:pt>
          <cx:pt idx="15927">328000</cx:pt>
          <cx:pt idx="15928">328000</cx:pt>
          <cx:pt idx="15929">328000</cx:pt>
          <cx:pt idx="15930">327555</cx:pt>
          <cx:pt idx="15931">327500</cx:pt>
          <cx:pt idx="15932">327500</cx:pt>
          <cx:pt idx="15933">327500</cx:pt>
          <cx:pt idx="15934">327500</cx:pt>
          <cx:pt idx="15935">327500</cx:pt>
          <cx:pt idx="15936">327500</cx:pt>
          <cx:pt idx="15937">327500</cx:pt>
          <cx:pt idx="15938">327500</cx:pt>
          <cx:pt idx="15939">327200</cx:pt>
          <cx:pt idx="15940">327000</cx:pt>
          <cx:pt idx="15941">327000</cx:pt>
          <cx:pt idx="15942">327000</cx:pt>
          <cx:pt idx="15943">327000</cx:pt>
          <cx:pt idx="15944">327000</cx:pt>
          <cx:pt idx="15945">327000</cx:pt>
          <cx:pt idx="15946">327000</cx:pt>
          <cx:pt idx="15947">327000</cx:pt>
          <cx:pt idx="15948">327000</cx:pt>
          <cx:pt idx="15949">327000</cx:pt>
          <cx:pt idx="15950">327000</cx:pt>
          <cx:pt idx="15951">327000</cx:pt>
          <cx:pt idx="15952">327000</cx:pt>
          <cx:pt idx="15953">327000</cx:pt>
          <cx:pt idx="15954">326995</cx:pt>
          <cx:pt idx="15955">326989</cx:pt>
          <cx:pt idx="15956">326500</cx:pt>
          <cx:pt idx="15957">326500</cx:pt>
          <cx:pt idx="15958">326250</cx:pt>
          <cx:pt idx="15959">326188</cx:pt>
          <cx:pt idx="15960">326100</cx:pt>
          <cx:pt idx="15961">326000</cx:pt>
          <cx:pt idx="15962">326000</cx:pt>
          <cx:pt idx="15963">326000</cx:pt>
          <cx:pt idx="15964">326000</cx:pt>
          <cx:pt idx="15965">326000</cx:pt>
          <cx:pt idx="15966">326000</cx:pt>
          <cx:pt idx="15967">326000</cx:pt>
          <cx:pt idx="15968">326000</cx:pt>
          <cx:pt idx="15969">326000</cx:pt>
          <cx:pt idx="15970">326000</cx:pt>
          <cx:pt idx="15971">326000</cx:pt>
          <cx:pt idx="15972">325900</cx:pt>
          <cx:pt idx="15973">325900</cx:pt>
          <cx:pt idx="15974">325500</cx:pt>
          <cx:pt idx="15975">325500</cx:pt>
          <cx:pt idx="15976">325250</cx:pt>
          <cx:pt idx="15977">325088</cx:pt>
          <cx:pt idx="15978">325000</cx:pt>
          <cx:pt idx="15979">325000</cx:pt>
          <cx:pt idx="15980">325000</cx:pt>
          <cx:pt idx="15981">325000</cx:pt>
          <cx:pt idx="15982">325000</cx:pt>
          <cx:pt idx="15983">325000</cx:pt>
          <cx:pt idx="15984">325000</cx:pt>
          <cx:pt idx="15985">325000</cx:pt>
          <cx:pt idx="15986">325000</cx:pt>
          <cx:pt idx="15987">325000</cx:pt>
          <cx:pt idx="15988">325000</cx:pt>
          <cx:pt idx="15989">325000</cx:pt>
          <cx:pt idx="15990">325000</cx:pt>
          <cx:pt idx="15991">325000</cx:pt>
          <cx:pt idx="15992">325000</cx:pt>
          <cx:pt idx="15993">325000</cx:pt>
          <cx:pt idx="15994">325000</cx:pt>
          <cx:pt idx="15995">325000</cx:pt>
          <cx:pt idx="15996">325000</cx:pt>
          <cx:pt idx="15997">325000</cx:pt>
          <cx:pt idx="15998">325000</cx:pt>
          <cx:pt idx="15999">325000</cx:pt>
          <cx:pt idx="16000">325000</cx:pt>
          <cx:pt idx="16001">325000</cx:pt>
          <cx:pt idx="16002">325000</cx:pt>
          <cx:pt idx="16003">325000</cx:pt>
          <cx:pt idx="16004">325000</cx:pt>
          <cx:pt idx="16005">325000</cx:pt>
          <cx:pt idx="16006">325000</cx:pt>
          <cx:pt idx="16007">325000</cx:pt>
          <cx:pt idx="16008">325000</cx:pt>
          <cx:pt idx="16009">325000</cx:pt>
          <cx:pt idx="16010">325000</cx:pt>
          <cx:pt idx="16011">325000</cx:pt>
          <cx:pt idx="16012">325000</cx:pt>
          <cx:pt idx="16013">325000</cx:pt>
          <cx:pt idx="16014">325000</cx:pt>
          <cx:pt idx="16015">325000</cx:pt>
          <cx:pt idx="16016">325000</cx:pt>
          <cx:pt idx="16017">325000</cx:pt>
          <cx:pt idx="16018">325000</cx:pt>
          <cx:pt idx="16019">325000</cx:pt>
          <cx:pt idx="16020">325000</cx:pt>
          <cx:pt idx="16021">325000</cx:pt>
          <cx:pt idx="16022">325000</cx:pt>
          <cx:pt idx="16023">325000</cx:pt>
          <cx:pt idx="16024">325000</cx:pt>
          <cx:pt idx="16025">325000</cx:pt>
          <cx:pt idx="16026">325000</cx:pt>
          <cx:pt idx="16027">325000</cx:pt>
          <cx:pt idx="16028">325000</cx:pt>
          <cx:pt idx="16029">325000</cx:pt>
          <cx:pt idx="16030">325000</cx:pt>
          <cx:pt idx="16031">325000</cx:pt>
          <cx:pt idx="16032">325000</cx:pt>
          <cx:pt idx="16033">325000</cx:pt>
          <cx:pt idx="16034">325000</cx:pt>
          <cx:pt idx="16035">325000</cx:pt>
          <cx:pt idx="16036">325000</cx:pt>
          <cx:pt idx="16037">325000</cx:pt>
          <cx:pt idx="16038">325000</cx:pt>
          <cx:pt idx="16039">325000</cx:pt>
          <cx:pt idx="16040">325000</cx:pt>
          <cx:pt idx="16041">325000</cx:pt>
          <cx:pt idx="16042">325000</cx:pt>
          <cx:pt idx="16043">325000</cx:pt>
          <cx:pt idx="16044">325000</cx:pt>
          <cx:pt idx="16045">325000</cx:pt>
          <cx:pt idx="16046">325000</cx:pt>
          <cx:pt idx="16047">325000</cx:pt>
          <cx:pt idx="16048">325000</cx:pt>
          <cx:pt idx="16049">325000</cx:pt>
          <cx:pt idx="16050">325000</cx:pt>
          <cx:pt idx="16051">325000</cx:pt>
          <cx:pt idx="16052">325000</cx:pt>
          <cx:pt idx="16053">325000</cx:pt>
          <cx:pt idx="16054">325000</cx:pt>
          <cx:pt idx="16055">325000</cx:pt>
          <cx:pt idx="16056">325000</cx:pt>
          <cx:pt idx="16057">325000</cx:pt>
          <cx:pt idx="16058">325000</cx:pt>
          <cx:pt idx="16059">325000</cx:pt>
          <cx:pt idx="16060">325000</cx:pt>
          <cx:pt idx="16061">325000</cx:pt>
          <cx:pt idx="16062">325000</cx:pt>
          <cx:pt idx="16063">325000</cx:pt>
          <cx:pt idx="16064">325000</cx:pt>
          <cx:pt idx="16065">325000</cx:pt>
          <cx:pt idx="16066">325000</cx:pt>
          <cx:pt idx="16067">325000</cx:pt>
          <cx:pt idx="16068">325000</cx:pt>
          <cx:pt idx="16069">325000</cx:pt>
          <cx:pt idx="16070">325000</cx:pt>
          <cx:pt idx="16071">325000</cx:pt>
          <cx:pt idx="16072">325000</cx:pt>
          <cx:pt idx="16073">325000</cx:pt>
          <cx:pt idx="16074">325000</cx:pt>
          <cx:pt idx="16075">325000</cx:pt>
          <cx:pt idx="16076">325000</cx:pt>
          <cx:pt idx="16077">325000</cx:pt>
          <cx:pt idx="16078">325000</cx:pt>
          <cx:pt idx="16079">325000</cx:pt>
          <cx:pt idx="16080">325000</cx:pt>
          <cx:pt idx="16081">325000</cx:pt>
          <cx:pt idx="16082">325000</cx:pt>
          <cx:pt idx="16083">325000</cx:pt>
          <cx:pt idx="16084">325000</cx:pt>
          <cx:pt idx="16085">325000</cx:pt>
          <cx:pt idx="16086">325000</cx:pt>
          <cx:pt idx="16087">325000</cx:pt>
          <cx:pt idx="16088">325000</cx:pt>
          <cx:pt idx="16089">325000</cx:pt>
          <cx:pt idx="16090">325000</cx:pt>
          <cx:pt idx="16091">325000</cx:pt>
          <cx:pt idx="16092">325000</cx:pt>
          <cx:pt idx="16093">325000</cx:pt>
          <cx:pt idx="16094">325000</cx:pt>
          <cx:pt idx="16095">325000</cx:pt>
          <cx:pt idx="16096">325000</cx:pt>
          <cx:pt idx="16097">325000</cx:pt>
          <cx:pt idx="16098">325000</cx:pt>
          <cx:pt idx="16099">325000</cx:pt>
          <cx:pt idx="16100">325000</cx:pt>
          <cx:pt idx="16101">325000</cx:pt>
          <cx:pt idx="16102">325000</cx:pt>
          <cx:pt idx="16103">325000</cx:pt>
          <cx:pt idx="16104">325000</cx:pt>
          <cx:pt idx="16105">325000</cx:pt>
          <cx:pt idx="16106">325000</cx:pt>
          <cx:pt idx="16107">325000</cx:pt>
          <cx:pt idx="16108">325000</cx:pt>
          <cx:pt idx="16109">325000</cx:pt>
          <cx:pt idx="16110">325000</cx:pt>
          <cx:pt idx="16111">325000</cx:pt>
          <cx:pt idx="16112">325000</cx:pt>
          <cx:pt idx="16113">325000</cx:pt>
          <cx:pt idx="16114">325000</cx:pt>
          <cx:pt idx="16115">325000</cx:pt>
          <cx:pt idx="16116">325000</cx:pt>
          <cx:pt idx="16117">325000</cx:pt>
          <cx:pt idx="16118">325000</cx:pt>
          <cx:pt idx="16119">325000</cx:pt>
          <cx:pt idx="16120">325000</cx:pt>
          <cx:pt idx="16121">325000</cx:pt>
          <cx:pt idx="16122">325000</cx:pt>
          <cx:pt idx="16123">325000</cx:pt>
          <cx:pt idx="16124">325000</cx:pt>
          <cx:pt idx="16125">325000</cx:pt>
          <cx:pt idx="16126">324950</cx:pt>
          <cx:pt idx="16127">324950</cx:pt>
          <cx:pt idx="16128">324950</cx:pt>
          <cx:pt idx="16129">324950</cx:pt>
          <cx:pt idx="16130">324950</cx:pt>
          <cx:pt idx="16131">324950</cx:pt>
          <cx:pt idx="16132">324950</cx:pt>
          <cx:pt idx="16133">324950</cx:pt>
          <cx:pt idx="16134">324950</cx:pt>
          <cx:pt idx="16135">324950</cx:pt>
          <cx:pt idx="16136">324950</cx:pt>
          <cx:pt idx="16137">324950</cx:pt>
          <cx:pt idx="16138">324950</cx:pt>
          <cx:pt idx="16139">324950</cx:pt>
          <cx:pt idx="16140">324950</cx:pt>
          <cx:pt idx="16141">324950</cx:pt>
          <cx:pt idx="16142">324950</cx:pt>
          <cx:pt idx="16143">324900</cx:pt>
          <cx:pt idx="16144">324900</cx:pt>
          <cx:pt idx="16145">324900</cx:pt>
          <cx:pt idx="16146">324888</cx:pt>
          <cx:pt idx="16147">324800</cx:pt>
          <cx:pt idx="16148">324747</cx:pt>
          <cx:pt idx="16149">324500</cx:pt>
          <cx:pt idx="16150">324500</cx:pt>
          <cx:pt idx="16151">324500</cx:pt>
          <cx:pt idx="16152">324500</cx:pt>
          <cx:pt idx="16153">324500</cx:pt>
          <cx:pt idx="16154">324450</cx:pt>
          <cx:pt idx="16155">324360</cx:pt>
          <cx:pt idx="16156">324000</cx:pt>
          <cx:pt idx="16157">324000</cx:pt>
          <cx:pt idx="16158">324000</cx:pt>
          <cx:pt idx="16159">324000</cx:pt>
          <cx:pt idx="16160">324000</cx:pt>
          <cx:pt idx="16161">324000</cx:pt>
          <cx:pt idx="16162">324000</cx:pt>
          <cx:pt idx="16163">324000</cx:pt>
          <cx:pt idx="16164">324000</cx:pt>
          <cx:pt idx="16165">324000</cx:pt>
          <cx:pt idx="16166">323800</cx:pt>
          <cx:pt idx="16167">323500</cx:pt>
          <cx:pt idx="16168">323400</cx:pt>
          <cx:pt idx="16169">323000</cx:pt>
          <cx:pt idx="16170">323000</cx:pt>
          <cx:pt idx="16171">323000</cx:pt>
          <cx:pt idx="16172">323000</cx:pt>
          <cx:pt idx="16173">323000</cx:pt>
          <cx:pt idx="16174">323000</cx:pt>
          <cx:pt idx="16175">323000</cx:pt>
          <cx:pt idx="16176">323000</cx:pt>
          <cx:pt idx="16177">323000</cx:pt>
          <cx:pt idx="16178">323000</cx:pt>
          <cx:pt idx="16179">323000</cx:pt>
          <cx:pt idx="16180">323000</cx:pt>
          <cx:pt idx="16181">323000</cx:pt>
          <cx:pt idx="16182">323000</cx:pt>
          <cx:pt idx="16183">323000</cx:pt>
          <cx:pt idx="16184">323000</cx:pt>
          <cx:pt idx="16185">322968</cx:pt>
          <cx:pt idx="16186">322500</cx:pt>
          <cx:pt idx="16187">322500</cx:pt>
          <cx:pt idx="16188">322500</cx:pt>
          <cx:pt idx="16189">322500</cx:pt>
          <cx:pt idx="16190">322500</cx:pt>
          <cx:pt idx="16191">322500</cx:pt>
          <cx:pt idx="16192">322500</cx:pt>
          <cx:pt idx="16193">322500</cx:pt>
          <cx:pt idx="16194">322500</cx:pt>
          <cx:pt idx="16195">322400</cx:pt>
          <cx:pt idx="16196">322200</cx:pt>
          <cx:pt idx="16197">322000</cx:pt>
          <cx:pt idx="16198">322000</cx:pt>
          <cx:pt idx="16199">322000</cx:pt>
          <cx:pt idx="16200">322000</cx:pt>
          <cx:pt idx="16201">322000</cx:pt>
          <cx:pt idx="16202">322000</cx:pt>
          <cx:pt idx="16203">322000</cx:pt>
          <cx:pt idx="16204">322000</cx:pt>
          <cx:pt idx="16205">322000</cx:pt>
          <cx:pt idx="16206">322000</cx:pt>
          <cx:pt idx="16207">322000</cx:pt>
          <cx:pt idx="16208">322000</cx:pt>
          <cx:pt idx="16209">321950</cx:pt>
          <cx:pt idx="16210">321500</cx:pt>
          <cx:pt idx="16211">321500</cx:pt>
          <cx:pt idx="16212">321500</cx:pt>
          <cx:pt idx="16213">321027</cx:pt>
          <cx:pt idx="16214">321000</cx:pt>
          <cx:pt idx="16215">321000</cx:pt>
          <cx:pt idx="16216">321000</cx:pt>
          <cx:pt idx="16217">321000</cx:pt>
          <cx:pt idx="16218">321000</cx:pt>
          <cx:pt idx="16219">321000</cx:pt>
          <cx:pt idx="16220">321000</cx:pt>
          <cx:pt idx="16221">321000</cx:pt>
          <cx:pt idx="16222">321000</cx:pt>
          <cx:pt idx="16223">320900</cx:pt>
          <cx:pt idx="16224">320900</cx:pt>
          <cx:pt idx="16225">320600</cx:pt>
          <cx:pt idx="16226">320000</cx:pt>
          <cx:pt idx="16227">320000</cx:pt>
          <cx:pt idx="16228">320000</cx:pt>
          <cx:pt idx="16229">320000</cx:pt>
          <cx:pt idx="16230">320000</cx:pt>
          <cx:pt idx="16231">320000</cx:pt>
          <cx:pt idx="16232">320000</cx:pt>
          <cx:pt idx="16233">320000</cx:pt>
          <cx:pt idx="16234">320000</cx:pt>
          <cx:pt idx="16235">320000</cx:pt>
          <cx:pt idx="16236">320000</cx:pt>
          <cx:pt idx="16237">320000</cx:pt>
          <cx:pt idx="16238">320000</cx:pt>
          <cx:pt idx="16239">320000</cx:pt>
          <cx:pt idx="16240">320000</cx:pt>
          <cx:pt idx="16241">320000</cx:pt>
          <cx:pt idx="16242">320000</cx:pt>
          <cx:pt idx="16243">320000</cx:pt>
          <cx:pt idx="16244">320000</cx:pt>
          <cx:pt idx="16245">320000</cx:pt>
          <cx:pt idx="16246">320000</cx:pt>
          <cx:pt idx="16247">320000</cx:pt>
          <cx:pt idx="16248">320000</cx:pt>
          <cx:pt idx="16249">320000</cx:pt>
          <cx:pt idx="16250">320000</cx:pt>
          <cx:pt idx="16251">320000</cx:pt>
          <cx:pt idx="16252">320000</cx:pt>
          <cx:pt idx="16253">320000</cx:pt>
          <cx:pt idx="16254">320000</cx:pt>
          <cx:pt idx="16255">320000</cx:pt>
          <cx:pt idx="16256">320000</cx:pt>
          <cx:pt idx="16257">320000</cx:pt>
          <cx:pt idx="16258">320000</cx:pt>
          <cx:pt idx="16259">320000</cx:pt>
          <cx:pt idx="16260">320000</cx:pt>
          <cx:pt idx="16261">320000</cx:pt>
          <cx:pt idx="16262">320000</cx:pt>
          <cx:pt idx="16263">320000</cx:pt>
          <cx:pt idx="16264">320000</cx:pt>
          <cx:pt idx="16265">320000</cx:pt>
          <cx:pt idx="16266">320000</cx:pt>
          <cx:pt idx="16267">320000</cx:pt>
          <cx:pt idx="16268">320000</cx:pt>
          <cx:pt idx="16269">320000</cx:pt>
          <cx:pt idx="16270">320000</cx:pt>
          <cx:pt idx="16271">320000</cx:pt>
          <cx:pt idx="16272">320000</cx:pt>
          <cx:pt idx="16273">320000</cx:pt>
          <cx:pt idx="16274">320000</cx:pt>
          <cx:pt idx="16275">320000</cx:pt>
          <cx:pt idx="16276">320000</cx:pt>
          <cx:pt idx="16277">320000</cx:pt>
          <cx:pt idx="16278">320000</cx:pt>
          <cx:pt idx="16279">320000</cx:pt>
          <cx:pt idx="16280">320000</cx:pt>
          <cx:pt idx="16281">320000</cx:pt>
          <cx:pt idx="16282">320000</cx:pt>
          <cx:pt idx="16283">320000</cx:pt>
          <cx:pt idx="16284">320000</cx:pt>
          <cx:pt idx="16285">320000</cx:pt>
          <cx:pt idx="16286">320000</cx:pt>
          <cx:pt idx="16287">320000</cx:pt>
          <cx:pt idx="16288">320000</cx:pt>
          <cx:pt idx="16289">320000</cx:pt>
          <cx:pt idx="16290">320000</cx:pt>
          <cx:pt idx="16291">320000</cx:pt>
          <cx:pt idx="16292">320000</cx:pt>
          <cx:pt idx="16293">320000</cx:pt>
          <cx:pt idx="16294">320000</cx:pt>
          <cx:pt idx="16295">320000</cx:pt>
          <cx:pt idx="16296">320000</cx:pt>
          <cx:pt idx="16297">320000</cx:pt>
          <cx:pt idx="16298">320000</cx:pt>
          <cx:pt idx="16299">320000</cx:pt>
          <cx:pt idx="16300">320000</cx:pt>
          <cx:pt idx="16301">320000</cx:pt>
          <cx:pt idx="16302">320000</cx:pt>
          <cx:pt idx="16303">320000</cx:pt>
          <cx:pt idx="16304">320000</cx:pt>
          <cx:pt idx="16305">320000</cx:pt>
          <cx:pt idx="16306">320000</cx:pt>
          <cx:pt idx="16307">320000</cx:pt>
          <cx:pt idx="16308">320000</cx:pt>
          <cx:pt idx="16309">320000</cx:pt>
          <cx:pt idx="16310">320000</cx:pt>
          <cx:pt idx="16311">320000</cx:pt>
          <cx:pt idx="16312">320000</cx:pt>
          <cx:pt idx="16313">320000</cx:pt>
          <cx:pt idx="16314">320000</cx:pt>
          <cx:pt idx="16315">320000</cx:pt>
          <cx:pt idx="16316">320000</cx:pt>
          <cx:pt idx="16317">320000</cx:pt>
          <cx:pt idx="16318">320000</cx:pt>
          <cx:pt idx="16319">320000</cx:pt>
          <cx:pt idx="16320">320000</cx:pt>
          <cx:pt idx="16321">320000</cx:pt>
          <cx:pt idx="16322">320000</cx:pt>
          <cx:pt idx="16323">320000</cx:pt>
          <cx:pt idx="16324">320000</cx:pt>
          <cx:pt idx="16325">320000</cx:pt>
          <cx:pt idx="16326">320000</cx:pt>
          <cx:pt idx="16327">320000</cx:pt>
          <cx:pt idx="16328">320000</cx:pt>
          <cx:pt idx="16329">320000</cx:pt>
          <cx:pt idx="16330">320000</cx:pt>
          <cx:pt idx="16331">320000</cx:pt>
          <cx:pt idx="16332">320000</cx:pt>
          <cx:pt idx="16333">320000</cx:pt>
          <cx:pt idx="16334">319990</cx:pt>
          <cx:pt idx="16335">319990</cx:pt>
          <cx:pt idx="16336">319990</cx:pt>
          <cx:pt idx="16337">319950</cx:pt>
          <cx:pt idx="16338">319950</cx:pt>
          <cx:pt idx="16339">319950</cx:pt>
          <cx:pt idx="16340">319950</cx:pt>
          <cx:pt idx="16341">319950</cx:pt>
          <cx:pt idx="16342">319950</cx:pt>
          <cx:pt idx="16343">319950</cx:pt>
          <cx:pt idx="16344">319950</cx:pt>
          <cx:pt idx="16345">319950</cx:pt>
          <cx:pt idx="16346">319950</cx:pt>
          <cx:pt idx="16347">319950</cx:pt>
          <cx:pt idx="16348">319950</cx:pt>
          <cx:pt idx="16349">319900</cx:pt>
          <cx:pt idx="16350">319900</cx:pt>
          <cx:pt idx="16351">319900</cx:pt>
          <cx:pt idx="16352">319900</cx:pt>
          <cx:pt idx="16353">319900</cx:pt>
          <cx:pt idx="16354">319502</cx:pt>
          <cx:pt idx="16355">319500</cx:pt>
          <cx:pt idx="16356">319500</cx:pt>
          <cx:pt idx="16357">319500</cx:pt>
          <cx:pt idx="16358">319450</cx:pt>
          <cx:pt idx="16359">319000</cx:pt>
          <cx:pt idx="16360">319000</cx:pt>
          <cx:pt idx="16361">319000</cx:pt>
          <cx:pt idx="16362">319000</cx:pt>
          <cx:pt idx="16363">319000</cx:pt>
          <cx:pt idx="16364">319000</cx:pt>
          <cx:pt idx="16365">319000</cx:pt>
          <cx:pt idx="16366">319000</cx:pt>
          <cx:pt idx="16367">319000</cx:pt>
          <cx:pt idx="16368">319000</cx:pt>
          <cx:pt idx="16369">319000</cx:pt>
          <cx:pt idx="16370">319000</cx:pt>
          <cx:pt idx="16371">319000</cx:pt>
          <cx:pt idx="16372">319000</cx:pt>
          <cx:pt idx="16373">319000</cx:pt>
          <cx:pt idx="16374">319000</cx:pt>
          <cx:pt idx="16375">319000</cx:pt>
          <cx:pt idx="16376">319000</cx:pt>
          <cx:pt idx="16377">319000</cx:pt>
          <cx:pt idx="16378">319000</cx:pt>
          <cx:pt idx="16379">319000</cx:pt>
          <cx:pt idx="16380">318989</cx:pt>
          <cx:pt idx="16381">318888</cx:pt>
          <cx:pt idx="16382">318700</cx:pt>
          <cx:pt idx="16383">318500</cx:pt>
          <cx:pt idx="16384">318500</cx:pt>
          <cx:pt idx="16385">318400</cx:pt>
          <cx:pt idx="16386">318200</cx:pt>
          <cx:pt idx="16387">318000</cx:pt>
          <cx:pt idx="16388">318000</cx:pt>
          <cx:pt idx="16389">318000</cx:pt>
          <cx:pt idx="16390">318000</cx:pt>
          <cx:pt idx="16391">318000</cx:pt>
          <cx:pt idx="16392">318000</cx:pt>
          <cx:pt idx="16393">318000</cx:pt>
          <cx:pt idx="16394">318000</cx:pt>
          <cx:pt idx="16395">318000</cx:pt>
          <cx:pt idx="16396">317950</cx:pt>
          <cx:pt idx="16397">317750</cx:pt>
          <cx:pt idx="16398">317625</cx:pt>
          <cx:pt idx="16399">317500</cx:pt>
          <cx:pt idx="16400">317500</cx:pt>
          <cx:pt idx="16401">317500</cx:pt>
          <cx:pt idx="16402">317500</cx:pt>
          <cx:pt idx="16403">317500</cx:pt>
          <cx:pt idx="16404">317500</cx:pt>
          <cx:pt idx="16405">317000</cx:pt>
          <cx:pt idx="16406">317000</cx:pt>
          <cx:pt idx="16407">317000</cx:pt>
          <cx:pt idx="16408">317000</cx:pt>
          <cx:pt idx="16409">317000</cx:pt>
          <cx:pt idx="16410">317000</cx:pt>
          <cx:pt idx="16411">317000</cx:pt>
          <cx:pt idx="16412">317000</cx:pt>
          <cx:pt idx="16413">317000</cx:pt>
          <cx:pt idx="16414">317000</cx:pt>
          <cx:pt idx="16415">317000</cx:pt>
          <cx:pt idx="16416">317000</cx:pt>
          <cx:pt idx="16417">317000</cx:pt>
          <cx:pt idx="16418">317000</cx:pt>
          <cx:pt idx="16419">317000</cx:pt>
          <cx:pt idx="16420">316750</cx:pt>
          <cx:pt idx="16421">316500</cx:pt>
          <cx:pt idx="16422">316500</cx:pt>
          <cx:pt idx="16423">316500</cx:pt>
          <cx:pt idx="16424">316500</cx:pt>
          <cx:pt idx="16425">316475</cx:pt>
          <cx:pt idx="16426">316000</cx:pt>
          <cx:pt idx="16427">316000</cx:pt>
          <cx:pt idx="16428">316000</cx:pt>
          <cx:pt idx="16429">316000</cx:pt>
          <cx:pt idx="16430">316000</cx:pt>
          <cx:pt idx="16431">316000</cx:pt>
          <cx:pt idx="16432">316000</cx:pt>
          <cx:pt idx="16433">316000</cx:pt>
          <cx:pt idx="16434">316000</cx:pt>
          <cx:pt idx="16435">316000</cx:pt>
          <cx:pt idx="16436">316000</cx:pt>
          <cx:pt idx="16437">316000</cx:pt>
          <cx:pt idx="16438">316000</cx:pt>
          <cx:pt idx="16439">316000</cx:pt>
          <cx:pt idx="16440">316000</cx:pt>
          <cx:pt idx="16441">315500</cx:pt>
          <cx:pt idx="16442">315500</cx:pt>
          <cx:pt idx="16443">315500</cx:pt>
          <cx:pt idx="16444">315500</cx:pt>
          <cx:pt idx="16445">315450</cx:pt>
          <cx:pt idx="16446">315275</cx:pt>
          <cx:pt idx="16447">315001</cx:pt>
          <cx:pt idx="16448">315000</cx:pt>
          <cx:pt idx="16449">315000</cx:pt>
          <cx:pt idx="16450">315000</cx:pt>
          <cx:pt idx="16451">315000</cx:pt>
          <cx:pt idx="16452">315000</cx:pt>
          <cx:pt idx="16453">315000</cx:pt>
          <cx:pt idx="16454">315000</cx:pt>
          <cx:pt idx="16455">315000</cx:pt>
          <cx:pt idx="16456">315000</cx:pt>
          <cx:pt idx="16457">315000</cx:pt>
          <cx:pt idx="16458">315000</cx:pt>
          <cx:pt idx="16459">315000</cx:pt>
          <cx:pt idx="16460">315000</cx:pt>
          <cx:pt idx="16461">315000</cx:pt>
          <cx:pt idx="16462">315000</cx:pt>
          <cx:pt idx="16463">315000</cx:pt>
          <cx:pt idx="16464">315000</cx:pt>
          <cx:pt idx="16465">315000</cx:pt>
          <cx:pt idx="16466">315000</cx:pt>
          <cx:pt idx="16467">315000</cx:pt>
          <cx:pt idx="16468">315000</cx:pt>
          <cx:pt idx="16469">315000</cx:pt>
          <cx:pt idx="16470">315000</cx:pt>
          <cx:pt idx="16471">315000</cx:pt>
          <cx:pt idx="16472">315000</cx:pt>
          <cx:pt idx="16473">315000</cx:pt>
          <cx:pt idx="16474">315000</cx:pt>
          <cx:pt idx="16475">315000</cx:pt>
          <cx:pt idx="16476">315000</cx:pt>
          <cx:pt idx="16477">315000</cx:pt>
          <cx:pt idx="16478">315000</cx:pt>
          <cx:pt idx="16479">315000</cx:pt>
          <cx:pt idx="16480">315000</cx:pt>
          <cx:pt idx="16481">315000</cx:pt>
          <cx:pt idx="16482">315000</cx:pt>
          <cx:pt idx="16483">315000</cx:pt>
          <cx:pt idx="16484">315000</cx:pt>
          <cx:pt idx="16485">315000</cx:pt>
          <cx:pt idx="16486">315000</cx:pt>
          <cx:pt idx="16487">315000</cx:pt>
          <cx:pt idx="16488">315000</cx:pt>
          <cx:pt idx="16489">315000</cx:pt>
          <cx:pt idx="16490">315000</cx:pt>
          <cx:pt idx="16491">315000</cx:pt>
          <cx:pt idx="16492">315000</cx:pt>
          <cx:pt idx="16493">315000</cx:pt>
          <cx:pt idx="16494">315000</cx:pt>
          <cx:pt idx="16495">315000</cx:pt>
          <cx:pt idx="16496">315000</cx:pt>
          <cx:pt idx="16497">315000</cx:pt>
          <cx:pt idx="16498">315000</cx:pt>
          <cx:pt idx="16499">315000</cx:pt>
          <cx:pt idx="16500">315000</cx:pt>
          <cx:pt idx="16501">315000</cx:pt>
          <cx:pt idx="16502">315000</cx:pt>
          <cx:pt idx="16503">315000</cx:pt>
          <cx:pt idx="16504">315000</cx:pt>
          <cx:pt idx="16505">315000</cx:pt>
          <cx:pt idx="16506">315000</cx:pt>
          <cx:pt idx="16507">315000</cx:pt>
          <cx:pt idx="16508">315000</cx:pt>
          <cx:pt idx="16509">315000</cx:pt>
          <cx:pt idx="16510">315000</cx:pt>
          <cx:pt idx="16511">315000</cx:pt>
          <cx:pt idx="16512">315000</cx:pt>
          <cx:pt idx="16513">315000</cx:pt>
          <cx:pt idx="16514">315000</cx:pt>
          <cx:pt idx="16515">315000</cx:pt>
          <cx:pt idx="16516">315000</cx:pt>
          <cx:pt idx="16517">315000</cx:pt>
          <cx:pt idx="16518">315000</cx:pt>
          <cx:pt idx="16519">315000</cx:pt>
          <cx:pt idx="16520">315000</cx:pt>
          <cx:pt idx="16521">315000</cx:pt>
          <cx:pt idx="16522">315000</cx:pt>
          <cx:pt idx="16523">315000</cx:pt>
          <cx:pt idx="16524">315000</cx:pt>
          <cx:pt idx="16525">315000</cx:pt>
          <cx:pt idx="16526">315000</cx:pt>
          <cx:pt idx="16527">315000</cx:pt>
          <cx:pt idx="16528">315000</cx:pt>
          <cx:pt idx="16529">315000</cx:pt>
          <cx:pt idx="16530">315000</cx:pt>
          <cx:pt idx="16531">315000</cx:pt>
          <cx:pt idx="16532">315000</cx:pt>
          <cx:pt idx="16533">315000</cx:pt>
          <cx:pt idx="16534">315000</cx:pt>
          <cx:pt idx="16535">315000</cx:pt>
          <cx:pt idx="16536">315000</cx:pt>
          <cx:pt idx="16537">315000</cx:pt>
          <cx:pt idx="16538">315000</cx:pt>
          <cx:pt idx="16539">315000</cx:pt>
          <cx:pt idx="16540">315000</cx:pt>
          <cx:pt idx="16541">315000</cx:pt>
          <cx:pt idx="16542">315000</cx:pt>
          <cx:pt idx="16543">315000</cx:pt>
          <cx:pt idx="16544">315000</cx:pt>
          <cx:pt idx="16545">315000</cx:pt>
          <cx:pt idx="16546">315000</cx:pt>
          <cx:pt idx="16547">315000</cx:pt>
          <cx:pt idx="16548">315000</cx:pt>
          <cx:pt idx="16549">315000</cx:pt>
          <cx:pt idx="16550">315000</cx:pt>
          <cx:pt idx="16551">315000</cx:pt>
          <cx:pt idx="16552">315000</cx:pt>
          <cx:pt idx="16553">315000</cx:pt>
          <cx:pt idx="16554">315000</cx:pt>
          <cx:pt idx="16555">315000</cx:pt>
          <cx:pt idx="16556">315000</cx:pt>
          <cx:pt idx="16557">315000</cx:pt>
          <cx:pt idx="16558">315000</cx:pt>
          <cx:pt idx="16559">314963</cx:pt>
          <cx:pt idx="16560">314950</cx:pt>
          <cx:pt idx="16561">314950</cx:pt>
          <cx:pt idx="16562">314950</cx:pt>
          <cx:pt idx="16563">314950</cx:pt>
          <cx:pt idx="16564">314950</cx:pt>
          <cx:pt idx="16565">314950</cx:pt>
          <cx:pt idx="16566">314950</cx:pt>
          <cx:pt idx="16567">314950</cx:pt>
          <cx:pt idx="16568">314900</cx:pt>
          <cx:pt idx="16569">314500</cx:pt>
          <cx:pt idx="16570">314500</cx:pt>
          <cx:pt idx="16571">314500</cx:pt>
          <cx:pt idx="16572">314500</cx:pt>
          <cx:pt idx="16573">314200</cx:pt>
          <cx:pt idx="16574">314000</cx:pt>
          <cx:pt idx="16575">314000</cx:pt>
          <cx:pt idx="16576">314000</cx:pt>
          <cx:pt idx="16577">314000</cx:pt>
          <cx:pt idx="16578">314000</cx:pt>
          <cx:pt idx="16579">314000</cx:pt>
          <cx:pt idx="16580">314000</cx:pt>
          <cx:pt idx="16581">314000</cx:pt>
          <cx:pt idx="16582">313999</cx:pt>
          <cx:pt idx="16583">313950</cx:pt>
          <cx:pt idx="16584">313500</cx:pt>
          <cx:pt idx="16585">313500</cx:pt>
          <cx:pt idx="16586">313500</cx:pt>
          <cx:pt idx="16587">313500</cx:pt>
          <cx:pt idx="16588">313300</cx:pt>
          <cx:pt idx="16589">313200</cx:pt>
          <cx:pt idx="16590">313100</cx:pt>
          <cx:pt idx="16591">313100</cx:pt>
          <cx:pt idx="16592">313100</cx:pt>
          <cx:pt idx="16593">313000</cx:pt>
          <cx:pt idx="16594">313000</cx:pt>
          <cx:pt idx="16595">313000</cx:pt>
          <cx:pt idx="16596">313000</cx:pt>
          <cx:pt idx="16597">313000</cx:pt>
          <cx:pt idx="16598">313000</cx:pt>
          <cx:pt idx="16599">313000</cx:pt>
          <cx:pt idx="16600">313000</cx:pt>
          <cx:pt idx="16601">313000</cx:pt>
          <cx:pt idx="16602">312900</cx:pt>
          <cx:pt idx="16603">312891</cx:pt>
          <cx:pt idx="16604">312620</cx:pt>
          <cx:pt idx="16605">312500</cx:pt>
          <cx:pt idx="16606">312500</cx:pt>
          <cx:pt idx="16607">312500</cx:pt>
          <cx:pt idx="16608">312500</cx:pt>
          <cx:pt idx="16609">312500</cx:pt>
          <cx:pt idx="16610">312500</cx:pt>
          <cx:pt idx="16611">312500</cx:pt>
          <cx:pt idx="16612">312500</cx:pt>
          <cx:pt idx="16613">312500</cx:pt>
          <cx:pt idx="16614">312500</cx:pt>
          <cx:pt idx="16615">312500</cx:pt>
          <cx:pt idx="16616">312200</cx:pt>
          <cx:pt idx="16617">312000</cx:pt>
          <cx:pt idx="16618">312000</cx:pt>
          <cx:pt idx="16619">312000</cx:pt>
          <cx:pt idx="16620">312000</cx:pt>
          <cx:pt idx="16621">312000</cx:pt>
          <cx:pt idx="16622">312000</cx:pt>
          <cx:pt idx="16623">312000</cx:pt>
          <cx:pt idx="16624">312000</cx:pt>
          <cx:pt idx="16625">312000</cx:pt>
          <cx:pt idx="16626">312000</cx:pt>
          <cx:pt idx="16627">312000</cx:pt>
          <cx:pt idx="16628">312000</cx:pt>
          <cx:pt idx="16629">312000</cx:pt>
          <cx:pt idx="16630">312000</cx:pt>
          <cx:pt idx="16631">312000</cx:pt>
          <cx:pt idx="16632">312000</cx:pt>
          <cx:pt idx="16633">312000</cx:pt>
          <cx:pt idx="16634">312000</cx:pt>
          <cx:pt idx="16635">312000</cx:pt>
          <cx:pt idx="16636">312000</cx:pt>
          <cx:pt idx="16637">312000</cx:pt>
          <cx:pt idx="16638">311850</cx:pt>
          <cx:pt idx="16639">311750</cx:pt>
          <cx:pt idx="16640">311600</cx:pt>
          <cx:pt idx="16641">311500</cx:pt>
          <cx:pt idx="16642">311300</cx:pt>
          <cx:pt idx="16643">311100</cx:pt>
          <cx:pt idx="16644">311000</cx:pt>
          <cx:pt idx="16645">311000</cx:pt>
          <cx:pt idx="16646">311000</cx:pt>
          <cx:pt idx="16647">311000</cx:pt>
          <cx:pt idx="16648">311000</cx:pt>
          <cx:pt idx="16649">311000</cx:pt>
          <cx:pt idx="16650">311000</cx:pt>
          <cx:pt idx="16651">311000</cx:pt>
          <cx:pt idx="16652">311000</cx:pt>
          <cx:pt idx="16653">311000</cx:pt>
          <cx:pt idx="16654">311000</cx:pt>
          <cx:pt idx="16655">311000</cx:pt>
          <cx:pt idx="16656">311000</cx:pt>
          <cx:pt idx="16657">311000</cx:pt>
          <cx:pt idx="16658">310950</cx:pt>
          <cx:pt idx="16659">310650</cx:pt>
          <cx:pt idx="16660">310597</cx:pt>
          <cx:pt idx="16661">310000</cx:pt>
          <cx:pt idx="16662">310000</cx:pt>
          <cx:pt idx="16663">310000</cx:pt>
          <cx:pt idx="16664">310000</cx:pt>
          <cx:pt idx="16665">310000</cx:pt>
          <cx:pt idx="16666">310000</cx:pt>
          <cx:pt idx="16667">310000</cx:pt>
          <cx:pt idx="16668">310000</cx:pt>
          <cx:pt idx="16669">310000</cx:pt>
          <cx:pt idx="16670">310000</cx:pt>
          <cx:pt idx="16671">310000</cx:pt>
          <cx:pt idx="16672">310000</cx:pt>
          <cx:pt idx="16673">310000</cx:pt>
          <cx:pt idx="16674">310000</cx:pt>
          <cx:pt idx="16675">310000</cx:pt>
          <cx:pt idx="16676">310000</cx:pt>
          <cx:pt idx="16677">310000</cx:pt>
          <cx:pt idx="16678">310000</cx:pt>
          <cx:pt idx="16679">310000</cx:pt>
          <cx:pt idx="16680">310000</cx:pt>
          <cx:pt idx="16681">310000</cx:pt>
          <cx:pt idx="16682">310000</cx:pt>
          <cx:pt idx="16683">310000</cx:pt>
          <cx:pt idx="16684">310000</cx:pt>
          <cx:pt idx="16685">310000</cx:pt>
          <cx:pt idx="16686">310000</cx:pt>
          <cx:pt idx="16687">310000</cx:pt>
          <cx:pt idx="16688">310000</cx:pt>
          <cx:pt idx="16689">310000</cx:pt>
          <cx:pt idx="16690">310000</cx:pt>
          <cx:pt idx="16691">310000</cx:pt>
          <cx:pt idx="16692">310000</cx:pt>
          <cx:pt idx="16693">310000</cx:pt>
          <cx:pt idx="16694">310000</cx:pt>
          <cx:pt idx="16695">310000</cx:pt>
          <cx:pt idx="16696">310000</cx:pt>
          <cx:pt idx="16697">310000</cx:pt>
          <cx:pt idx="16698">310000</cx:pt>
          <cx:pt idx="16699">310000</cx:pt>
          <cx:pt idx="16700">310000</cx:pt>
          <cx:pt idx="16701">310000</cx:pt>
          <cx:pt idx="16702">310000</cx:pt>
          <cx:pt idx="16703">310000</cx:pt>
          <cx:pt idx="16704">310000</cx:pt>
          <cx:pt idx="16705">310000</cx:pt>
          <cx:pt idx="16706">310000</cx:pt>
          <cx:pt idx="16707">310000</cx:pt>
          <cx:pt idx="16708">310000</cx:pt>
          <cx:pt idx="16709">310000</cx:pt>
          <cx:pt idx="16710">310000</cx:pt>
          <cx:pt idx="16711">310000</cx:pt>
          <cx:pt idx="16712">310000</cx:pt>
          <cx:pt idx="16713">310000</cx:pt>
          <cx:pt idx="16714">310000</cx:pt>
          <cx:pt idx="16715">310000</cx:pt>
          <cx:pt idx="16716">310000</cx:pt>
          <cx:pt idx="16717">310000</cx:pt>
          <cx:pt idx="16718">310000</cx:pt>
          <cx:pt idx="16719">310000</cx:pt>
          <cx:pt idx="16720">310000</cx:pt>
          <cx:pt idx="16721">310000</cx:pt>
          <cx:pt idx="16722">310000</cx:pt>
          <cx:pt idx="16723">310000</cx:pt>
          <cx:pt idx="16724">310000</cx:pt>
          <cx:pt idx="16725">310000</cx:pt>
          <cx:pt idx="16726">310000</cx:pt>
          <cx:pt idx="16727">310000</cx:pt>
          <cx:pt idx="16728">310000</cx:pt>
          <cx:pt idx="16729">310000</cx:pt>
          <cx:pt idx="16730">310000</cx:pt>
          <cx:pt idx="16731">310000</cx:pt>
          <cx:pt idx="16732">310000</cx:pt>
          <cx:pt idx="16733">310000</cx:pt>
          <cx:pt idx="16734">310000</cx:pt>
          <cx:pt idx="16735">310000</cx:pt>
          <cx:pt idx="16736">310000</cx:pt>
          <cx:pt idx="16737">310000</cx:pt>
          <cx:pt idx="16738">310000</cx:pt>
          <cx:pt idx="16739">310000</cx:pt>
          <cx:pt idx="16740">310000</cx:pt>
          <cx:pt idx="16741">310000</cx:pt>
          <cx:pt idx="16742">310000</cx:pt>
          <cx:pt idx="16743">310000</cx:pt>
          <cx:pt idx="16744">310000</cx:pt>
          <cx:pt idx="16745">310000</cx:pt>
          <cx:pt idx="16746">310000</cx:pt>
          <cx:pt idx="16747">310000</cx:pt>
          <cx:pt idx="16748">310000</cx:pt>
          <cx:pt idx="16749">310000</cx:pt>
          <cx:pt idx="16750">310000</cx:pt>
          <cx:pt idx="16751">310000</cx:pt>
          <cx:pt idx="16752">310000</cx:pt>
          <cx:pt idx="16753">310000</cx:pt>
          <cx:pt idx="16754">310000</cx:pt>
          <cx:pt idx="16755">310000</cx:pt>
          <cx:pt idx="16756">310000</cx:pt>
          <cx:pt idx="16757">310000</cx:pt>
          <cx:pt idx="16758">310000</cx:pt>
          <cx:pt idx="16759">310000</cx:pt>
          <cx:pt idx="16760">310000</cx:pt>
          <cx:pt idx="16761">310000</cx:pt>
          <cx:pt idx="16762">309950</cx:pt>
          <cx:pt idx="16763">309950</cx:pt>
          <cx:pt idx="16764">309950</cx:pt>
          <cx:pt idx="16765">309950</cx:pt>
          <cx:pt idx="16766">309950</cx:pt>
          <cx:pt idx="16767">309950</cx:pt>
          <cx:pt idx="16768">309950</cx:pt>
          <cx:pt idx="16769">309950</cx:pt>
          <cx:pt idx="16770">309950</cx:pt>
          <cx:pt idx="16771">309933</cx:pt>
          <cx:pt idx="16772">309900</cx:pt>
          <cx:pt idx="16773">309900</cx:pt>
          <cx:pt idx="16774">309780</cx:pt>
          <cx:pt idx="16775">309620</cx:pt>
          <cx:pt idx="16776">309600</cx:pt>
          <cx:pt idx="16777">309500</cx:pt>
          <cx:pt idx="16778">309500</cx:pt>
          <cx:pt idx="16779">309212</cx:pt>
          <cx:pt idx="16780">309000</cx:pt>
          <cx:pt idx="16781">309000</cx:pt>
          <cx:pt idx="16782">309000</cx:pt>
          <cx:pt idx="16783">309000</cx:pt>
          <cx:pt idx="16784">309000</cx:pt>
          <cx:pt idx="16785">309000</cx:pt>
          <cx:pt idx="16786">309000</cx:pt>
          <cx:pt idx="16787">309000</cx:pt>
          <cx:pt idx="16788">309000</cx:pt>
          <cx:pt idx="16789">309000</cx:pt>
          <cx:pt idx="16790">309000</cx:pt>
          <cx:pt idx="16791">309000</cx:pt>
          <cx:pt idx="16792">309000</cx:pt>
          <cx:pt idx="16793">308950</cx:pt>
          <cx:pt idx="16794">308950</cx:pt>
          <cx:pt idx="16795">308900</cx:pt>
          <cx:pt idx="16796">308625</cx:pt>
          <cx:pt idx="16797">308550</cx:pt>
          <cx:pt idx="16798">308500</cx:pt>
          <cx:pt idx="16799">308500</cx:pt>
          <cx:pt idx="16800">308130</cx:pt>
          <cx:pt idx="16801">308000</cx:pt>
          <cx:pt idx="16802">308000</cx:pt>
          <cx:pt idx="16803">308000</cx:pt>
          <cx:pt idx="16804">308000</cx:pt>
          <cx:pt idx="16805">308000</cx:pt>
          <cx:pt idx="16806">308000</cx:pt>
          <cx:pt idx="16807">308000</cx:pt>
          <cx:pt idx="16808">308000</cx:pt>
          <cx:pt idx="16809">308000</cx:pt>
          <cx:pt idx="16810">308000</cx:pt>
          <cx:pt idx="16811">308000</cx:pt>
          <cx:pt idx="16812">308000</cx:pt>
          <cx:pt idx="16813">308000</cx:pt>
          <cx:pt idx="16814">308000</cx:pt>
          <cx:pt idx="16815">307999</cx:pt>
          <cx:pt idx="16816">307700</cx:pt>
          <cx:pt idx="16817">307635</cx:pt>
          <cx:pt idx="16818">307550</cx:pt>
          <cx:pt idx="16819">307500</cx:pt>
          <cx:pt idx="16820">307500</cx:pt>
          <cx:pt idx="16821">307450</cx:pt>
          <cx:pt idx="16822">307300</cx:pt>
          <cx:pt idx="16823">307150</cx:pt>
          <cx:pt idx="16824">307000</cx:pt>
          <cx:pt idx="16825">307000</cx:pt>
          <cx:pt idx="16826">307000</cx:pt>
          <cx:pt idx="16827">307000</cx:pt>
          <cx:pt idx="16828">307000</cx:pt>
          <cx:pt idx="16829">307000</cx:pt>
          <cx:pt idx="16830">307000</cx:pt>
          <cx:pt idx="16831">307000</cx:pt>
          <cx:pt idx="16832">307000</cx:pt>
          <cx:pt idx="16833">307000</cx:pt>
          <cx:pt idx="16834">307000</cx:pt>
          <cx:pt idx="16835">307000</cx:pt>
          <cx:pt idx="16836">307000</cx:pt>
          <cx:pt idx="16837">306950</cx:pt>
          <cx:pt idx="16838">306888</cx:pt>
          <cx:pt idx="16839">306888</cx:pt>
          <cx:pt idx="16840">306500</cx:pt>
          <cx:pt idx="16841">306500</cx:pt>
          <cx:pt idx="16842">306500</cx:pt>
          <cx:pt idx="16843">306500</cx:pt>
          <cx:pt idx="16844">306500</cx:pt>
          <cx:pt idx="16845">306500</cx:pt>
          <cx:pt idx="16846">306500</cx:pt>
          <cx:pt idx="16847">306000</cx:pt>
          <cx:pt idx="16848">306000</cx:pt>
          <cx:pt idx="16849">306000</cx:pt>
          <cx:pt idx="16850">306000</cx:pt>
          <cx:pt idx="16851">306000</cx:pt>
          <cx:pt idx="16852">306000</cx:pt>
          <cx:pt idx="16853">306000</cx:pt>
          <cx:pt idx="16854">306000</cx:pt>
          <cx:pt idx="16855">306000</cx:pt>
          <cx:pt idx="16856">306000</cx:pt>
          <cx:pt idx="16857">306000</cx:pt>
          <cx:pt idx="16858">306000</cx:pt>
          <cx:pt idx="16859">306000</cx:pt>
          <cx:pt idx="16860">306000</cx:pt>
          <cx:pt idx="16861">306000</cx:pt>
          <cx:pt idx="16862">306000</cx:pt>
          <cx:pt idx="16863">306000</cx:pt>
          <cx:pt idx="16864">306000</cx:pt>
          <cx:pt idx="16865">306000</cx:pt>
          <cx:pt idx="16866">305950</cx:pt>
          <cx:pt idx="16867">305500</cx:pt>
          <cx:pt idx="16868">305500</cx:pt>
          <cx:pt idx="16869">305495</cx:pt>
          <cx:pt idx="16870">305450</cx:pt>
          <cx:pt idx="16871">305240</cx:pt>
          <cx:pt idx="16872">305100</cx:pt>
          <cx:pt idx="16873">305000</cx:pt>
          <cx:pt idx="16874">305000</cx:pt>
          <cx:pt idx="16875">305000</cx:pt>
          <cx:pt idx="16876">305000</cx:pt>
          <cx:pt idx="16877">305000</cx:pt>
          <cx:pt idx="16878">305000</cx:pt>
          <cx:pt idx="16879">305000</cx:pt>
          <cx:pt idx="16880">305000</cx:pt>
          <cx:pt idx="16881">305000</cx:pt>
          <cx:pt idx="16882">305000</cx:pt>
          <cx:pt idx="16883">305000</cx:pt>
          <cx:pt idx="16884">305000</cx:pt>
          <cx:pt idx="16885">305000</cx:pt>
          <cx:pt idx="16886">305000</cx:pt>
          <cx:pt idx="16887">305000</cx:pt>
          <cx:pt idx="16888">305000</cx:pt>
          <cx:pt idx="16889">305000</cx:pt>
          <cx:pt idx="16890">305000</cx:pt>
          <cx:pt idx="16891">305000</cx:pt>
          <cx:pt idx="16892">305000</cx:pt>
          <cx:pt idx="16893">305000</cx:pt>
          <cx:pt idx="16894">305000</cx:pt>
          <cx:pt idx="16895">305000</cx:pt>
          <cx:pt idx="16896">305000</cx:pt>
          <cx:pt idx="16897">305000</cx:pt>
          <cx:pt idx="16898">305000</cx:pt>
          <cx:pt idx="16899">305000</cx:pt>
          <cx:pt idx="16900">305000</cx:pt>
          <cx:pt idx="16901">305000</cx:pt>
          <cx:pt idx="16902">305000</cx:pt>
          <cx:pt idx="16903">305000</cx:pt>
          <cx:pt idx="16904">305000</cx:pt>
          <cx:pt idx="16905">305000</cx:pt>
          <cx:pt idx="16906">305000</cx:pt>
          <cx:pt idx="16907">305000</cx:pt>
          <cx:pt idx="16908">305000</cx:pt>
          <cx:pt idx="16909">305000</cx:pt>
          <cx:pt idx="16910">305000</cx:pt>
          <cx:pt idx="16911">305000</cx:pt>
          <cx:pt idx="16912">305000</cx:pt>
          <cx:pt idx="16913">305000</cx:pt>
          <cx:pt idx="16914">305000</cx:pt>
          <cx:pt idx="16915">305000</cx:pt>
          <cx:pt idx="16916">305000</cx:pt>
          <cx:pt idx="16917">305000</cx:pt>
          <cx:pt idx="16918">305000</cx:pt>
          <cx:pt idx="16919">305000</cx:pt>
          <cx:pt idx="16920">305000</cx:pt>
          <cx:pt idx="16921">305000</cx:pt>
          <cx:pt idx="16922">305000</cx:pt>
          <cx:pt idx="16923">305000</cx:pt>
          <cx:pt idx="16924">305000</cx:pt>
          <cx:pt idx="16925">305000</cx:pt>
          <cx:pt idx="16926">305000</cx:pt>
          <cx:pt idx="16927">305000</cx:pt>
          <cx:pt idx="16928">305000</cx:pt>
          <cx:pt idx="16929">305000</cx:pt>
          <cx:pt idx="16930">305000</cx:pt>
          <cx:pt idx="16931">305000</cx:pt>
          <cx:pt idx="16932">305000</cx:pt>
          <cx:pt idx="16933">305000</cx:pt>
          <cx:pt idx="16934">305000</cx:pt>
          <cx:pt idx="16935">305000</cx:pt>
          <cx:pt idx="16936">305000</cx:pt>
          <cx:pt idx="16937">305000</cx:pt>
          <cx:pt idx="16938">305000</cx:pt>
          <cx:pt idx="16939">305000</cx:pt>
          <cx:pt idx="16940">305000</cx:pt>
          <cx:pt idx="16941">305000</cx:pt>
          <cx:pt idx="16942">305000</cx:pt>
          <cx:pt idx="16943">305000</cx:pt>
          <cx:pt idx="16944">305000</cx:pt>
          <cx:pt idx="16945">305000</cx:pt>
          <cx:pt idx="16946">305000</cx:pt>
          <cx:pt idx="16947">305000</cx:pt>
          <cx:pt idx="16948">305000</cx:pt>
          <cx:pt idx="16949">305000</cx:pt>
          <cx:pt idx="16950">305000</cx:pt>
          <cx:pt idx="16951">305000</cx:pt>
          <cx:pt idx="16952">305000</cx:pt>
          <cx:pt idx="16953">305000</cx:pt>
          <cx:pt idx="16954">305000</cx:pt>
          <cx:pt idx="16955">305000</cx:pt>
          <cx:pt idx="16956">305000</cx:pt>
          <cx:pt idx="16957">305000</cx:pt>
          <cx:pt idx="16958">305000</cx:pt>
          <cx:pt idx="16959">305000</cx:pt>
          <cx:pt idx="16960">305000</cx:pt>
          <cx:pt idx="16961">305000</cx:pt>
          <cx:pt idx="16962">305000</cx:pt>
          <cx:pt idx="16963">305000</cx:pt>
          <cx:pt idx="16964">305000</cx:pt>
          <cx:pt idx="16965">304999</cx:pt>
          <cx:pt idx="16966">304950</cx:pt>
          <cx:pt idx="16967">304950</cx:pt>
          <cx:pt idx="16968">304900</cx:pt>
          <cx:pt idx="16969">304700</cx:pt>
          <cx:pt idx="16970">304500</cx:pt>
          <cx:pt idx="16971">304500</cx:pt>
          <cx:pt idx="16972">304500</cx:pt>
          <cx:pt idx="16973">304400</cx:pt>
          <cx:pt idx="16974">304000</cx:pt>
          <cx:pt idx="16975">304000</cx:pt>
          <cx:pt idx="16976">304000</cx:pt>
          <cx:pt idx="16977">304000</cx:pt>
          <cx:pt idx="16978">304000</cx:pt>
          <cx:pt idx="16979">304000</cx:pt>
          <cx:pt idx="16980">304000</cx:pt>
          <cx:pt idx="16981">304000</cx:pt>
          <cx:pt idx="16982">304000</cx:pt>
          <cx:pt idx="16983">303700</cx:pt>
          <cx:pt idx="16984">303697</cx:pt>
          <cx:pt idx="16985">303500</cx:pt>
          <cx:pt idx="16986">303500</cx:pt>
          <cx:pt idx="16987">303500</cx:pt>
          <cx:pt idx="16988">303210</cx:pt>
          <cx:pt idx="16989">303100</cx:pt>
          <cx:pt idx="16990">303000</cx:pt>
          <cx:pt idx="16991">303000</cx:pt>
          <cx:pt idx="16992">303000</cx:pt>
          <cx:pt idx="16993">303000</cx:pt>
          <cx:pt idx="16994">303000</cx:pt>
          <cx:pt idx="16995">303000</cx:pt>
          <cx:pt idx="16996">303000</cx:pt>
          <cx:pt idx="16997">303000</cx:pt>
          <cx:pt idx="16998">303000</cx:pt>
          <cx:pt idx="16999">303000</cx:pt>
          <cx:pt idx="17000">303000</cx:pt>
          <cx:pt idx="17001">303000</cx:pt>
          <cx:pt idx="17002">303000</cx:pt>
          <cx:pt idx="17003">302860</cx:pt>
          <cx:pt idx="17004">302500</cx:pt>
          <cx:pt idx="17005">302500</cx:pt>
          <cx:pt idx="17006">302500</cx:pt>
          <cx:pt idx="17007">302495</cx:pt>
          <cx:pt idx="17008">302300</cx:pt>
          <cx:pt idx="17009">302282</cx:pt>
          <cx:pt idx="17010">302200</cx:pt>
          <cx:pt idx="17011">302100</cx:pt>
          <cx:pt idx="17012">302059</cx:pt>
          <cx:pt idx="17013">302000</cx:pt>
          <cx:pt idx="17014">302000</cx:pt>
          <cx:pt idx="17015">302000</cx:pt>
          <cx:pt idx="17016">302000</cx:pt>
          <cx:pt idx="17017">302000</cx:pt>
          <cx:pt idx="17018">302000</cx:pt>
          <cx:pt idx="17019">302000</cx:pt>
          <cx:pt idx="17020">302000</cx:pt>
          <cx:pt idx="17021">302000</cx:pt>
          <cx:pt idx="17022">302000</cx:pt>
          <cx:pt idx="17023">302000</cx:pt>
          <cx:pt idx="17024">302000</cx:pt>
          <cx:pt idx="17025">302000</cx:pt>
          <cx:pt idx="17026">302000</cx:pt>
          <cx:pt idx="17027">302000</cx:pt>
          <cx:pt idx="17028">302000</cx:pt>
          <cx:pt idx="17029">302000</cx:pt>
          <cx:pt idx="17030">301950</cx:pt>
          <cx:pt idx="17031">301500</cx:pt>
          <cx:pt idx="17032">301500</cx:pt>
          <cx:pt idx="17033">301350</cx:pt>
          <cx:pt idx="17034">301000</cx:pt>
          <cx:pt idx="17035">301000</cx:pt>
          <cx:pt idx="17036">301000</cx:pt>
          <cx:pt idx="17037">301000</cx:pt>
          <cx:pt idx="17038">301000</cx:pt>
          <cx:pt idx="17039">301000</cx:pt>
          <cx:pt idx="17040">300523</cx:pt>
          <cx:pt idx="17041">300500</cx:pt>
          <cx:pt idx="17042">300499</cx:pt>
          <cx:pt idx="17043">300000</cx:pt>
          <cx:pt idx="17044">300000</cx:pt>
          <cx:pt idx="17045">300000</cx:pt>
          <cx:pt idx="17046">300000</cx:pt>
          <cx:pt idx="17047">300000</cx:pt>
          <cx:pt idx="17048">300000</cx:pt>
          <cx:pt idx="17049">300000</cx:pt>
          <cx:pt idx="17050">300000</cx:pt>
          <cx:pt idx="17051">300000</cx:pt>
          <cx:pt idx="17052">300000</cx:pt>
          <cx:pt idx="17053">300000</cx:pt>
          <cx:pt idx="17054">300000</cx:pt>
          <cx:pt idx="17055">300000</cx:pt>
          <cx:pt idx="17056">300000</cx:pt>
          <cx:pt idx="17057">300000</cx:pt>
          <cx:pt idx="17058">300000</cx:pt>
          <cx:pt idx="17059">300000</cx:pt>
          <cx:pt idx="17060">300000</cx:pt>
          <cx:pt idx="17061">300000</cx:pt>
          <cx:pt idx="17062">300000</cx:pt>
          <cx:pt idx="17063">300000</cx:pt>
          <cx:pt idx="17064">300000</cx:pt>
          <cx:pt idx="17065">300000</cx:pt>
          <cx:pt idx="17066">300000</cx:pt>
          <cx:pt idx="17067">300000</cx:pt>
          <cx:pt idx="17068">300000</cx:pt>
          <cx:pt idx="17069">300000</cx:pt>
          <cx:pt idx="17070">300000</cx:pt>
          <cx:pt idx="17071">300000</cx:pt>
          <cx:pt idx="17072">300000</cx:pt>
          <cx:pt idx="17073">300000</cx:pt>
          <cx:pt idx="17074">300000</cx:pt>
          <cx:pt idx="17075">300000</cx:pt>
          <cx:pt idx="17076">300000</cx:pt>
          <cx:pt idx="17077">300000</cx:pt>
          <cx:pt idx="17078">300000</cx:pt>
          <cx:pt idx="17079">300000</cx:pt>
          <cx:pt idx="17080">300000</cx:pt>
          <cx:pt idx="17081">300000</cx:pt>
          <cx:pt idx="17082">300000</cx:pt>
          <cx:pt idx="17083">300000</cx:pt>
          <cx:pt idx="17084">300000</cx:pt>
          <cx:pt idx="17085">300000</cx:pt>
          <cx:pt idx="17086">300000</cx:pt>
          <cx:pt idx="17087">300000</cx:pt>
          <cx:pt idx="17088">300000</cx:pt>
          <cx:pt idx="17089">300000</cx:pt>
          <cx:pt idx="17090">300000</cx:pt>
          <cx:pt idx="17091">300000</cx:pt>
          <cx:pt idx="17092">300000</cx:pt>
          <cx:pt idx="17093">300000</cx:pt>
          <cx:pt idx="17094">300000</cx:pt>
          <cx:pt idx="17095">300000</cx:pt>
          <cx:pt idx="17096">300000</cx:pt>
          <cx:pt idx="17097">300000</cx:pt>
          <cx:pt idx="17098">300000</cx:pt>
          <cx:pt idx="17099">300000</cx:pt>
          <cx:pt idx="17100">300000</cx:pt>
          <cx:pt idx="17101">300000</cx:pt>
          <cx:pt idx="17102">300000</cx:pt>
          <cx:pt idx="17103">300000</cx:pt>
          <cx:pt idx="17104">300000</cx:pt>
          <cx:pt idx="17105">300000</cx:pt>
          <cx:pt idx="17106">300000</cx:pt>
          <cx:pt idx="17107">300000</cx:pt>
          <cx:pt idx="17108">300000</cx:pt>
          <cx:pt idx="17109">300000</cx:pt>
          <cx:pt idx="17110">300000</cx:pt>
          <cx:pt idx="17111">300000</cx:pt>
          <cx:pt idx="17112">300000</cx:pt>
          <cx:pt idx="17113">300000</cx:pt>
          <cx:pt idx="17114">300000</cx:pt>
          <cx:pt idx="17115">300000</cx:pt>
          <cx:pt idx="17116">300000</cx:pt>
          <cx:pt idx="17117">300000</cx:pt>
          <cx:pt idx="17118">300000</cx:pt>
          <cx:pt idx="17119">300000</cx:pt>
          <cx:pt idx="17120">300000</cx:pt>
          <cx:pt idx="17121">300000</cx:pt>
          <cx:pt idx="17122">300000</cx:pt>
          <cx:pt idx="17123">300000</cx:pt>
          <cx:pt idx="17124">300000</cx:pt>
          <cx:pt idx="17125">300000</cx:pt>
          <cx:pt idx="17126">300000</cx:pt>
          <cx:pt idx="17127">300000</cx:pt>
          <cx:pt idx="17128">300000</cx:pt>
          <cx:pt idx="17129">300000</cx:pt>
          <cx:pt idx="17130">300000</cx:pt>
          <cx:pt idx="17131">300000</cx:pt>
          <cx:pt idx="17132">300000</cx:pt>
          <cx:pt idx="17133">300000</cx:pt>
          <cx:pt idx="17134">300000</cx:pt>
          <cx:pt idx="17135">300000</cx:pt>
          <cx:pt idx="17136">300000</cx:pt>
          <cx:pt idx="17137">300000</cx:pt>
          <cx:pt idx="17138">300000</cx:pt>
          <cx:pt idx="17139">300000</cx:pt>
          <cx:pt idx="17140">300000</cx:pt>
          <cx:pt idx="17141">300000</cx:pt>
          <cx:pt idx="17142">300000</cx:pt>
          <cx:pt idx="17143">300000</cx:pt>
          <cx:pt idx="17144">300000</cx:pt>
          <cx:pt idx="17145">300000</cx:pt>
          <cx:pt idx="17146">300000</cx:pt>
          <cx:pt idx="17147">300000</cx:pt>
          <cx:pt idx="17148">300000</cx:pt>
          <cx:pt idx="17149">300000</cx:pt>
          <cx:pt idx="17150">300000</cx:pt>
          <cx:pt idx="17151">300000</cx:pt>
          <cx:pt idx="17152">300000</cx:pt>
          <cx:pt idx="17153">300000</cx:pt>
          <cx:pt idx="17154">300000</cx:pt>
          <cx:pt idx="17155">300000</cx:pt>
          <cx:pt idx="17156">300000</cx:pt>
          <cx:pt idx="17157">300000</cx:pt>
          <cx:pt idx="17158">300000</cx:pt>
          <cx:pt idx="17159">300000</cx:pt>
          <cx:pt idx="17160">300000</cx:pt>
          <cx:pt idx="17161">300000</cx:pt>
          <cx:pt idx="17162">300000</cx:pt>
          <cx:pt idx="17163">300000</cx:pt>
          <cx:pt idx="17164">300000</cx:pt>
          <cx:pt idx="17165">300000</cx:pt>
          <cx:pt idx="17166">300000</cx:pt>
          <cx:pt idx="17167">300000</cx:pt>
          <cx:pt idx="17168">300000</cx:pt>
          <cx:pt idx="17169">300000</cx:pt>
          <cx:pt idx="17170">300000</cx:pt>
          <cx:pt idx="17171">300000</cx:pt>
          <cx:pt idx="17172">300000</cx:pt>
          <cx:pt idx="17173">300000</cx:pt>
          <cx:pt idx="17174">300000</cx:pt>
          <cx:pt idx="17175">300000</cx:pt>
          <cx:pt idx="17176">299999</cx:pt>
          <cx:pt idx="17177">299999</cx:pt>
          <cx:pt idx="17178">299999</cx:pt>
          <cx:pt idx="17179">299999</cx:pt>
          <cx:pt idx="17180">299995</cx:pt>
          <cx:pt idx="17181">299995</cx:pt>
          <cx:pt idx="17182">299990</cx:pt>
          <cx:pt idx="17183">299990</cx:pt>
          <cx:pt idx="17184">299980</cx:pt>
          <cx:pt idx="17185">299950</cx:pt>
          <cx:pt idx="17186">299950</cx:pt>
          <cx:pt idx="17187">299950</cx:pt>
          <cx:pt idx="17188">299950</cx:pt>
          <cx:pt idx="17189">299950</cx:pt>
          <cx:pt idx="17190">299950</cx:pt>
          <cx:pt idx="17191">299950</cx:pt>
          <cx:pt idx="17192">299950</cx:pt>
          <cx:pt idx="17193">299950</cx:pt>
          <cx:pt idx="17194">299950</cx:pt>
          <cx:pt idx="17195">299950</cx:pt>
          <cx:pt idx="17196">299950</cx:pt>
          <cx:pt idx="17197">299950</cx:pt>
          <cx:pt idx="17198">299950</cx:pt>
          <cx:pt idx="17199">299950</cx:pt>
          <cx:pt idx="17200">299950</cx:pt>
          <cx:pt idx="17201">299950</cx:pt>
          <cx:pt idx="17202">299950</cx:pt>
          <cx:pt idx="17203">299950</cx:pt>
          <cx:pt idx="17204">299950</cx:pt>
          <cx:pt idx="17205">299950</cx:pt>
          <cx:pt idx="17206">299950</cx:pt>
          <cx:pt idx="17207">299950</cx:pt>
          <cx:pt idx="17208">299900</cx:pt>
          <cx:pt idx="17209">299900</cx:pt>
          <cx:pt idx="17210">299900</cx:pt>
          <cx:pt idx="17211">299900</cx:pt>
          <cx:pt idx="17212">299900</cx:pt>
          <cx:pt idx="17213">299900</cx:pt>
          <cx:pt idx="17214">299900</cx:pt>
          <cx:pt idx="17215">299900</cx:pt>
          <cx:pt idx="17216">299900</cx:pt>
          <cx:pt idx="17217">299900</cx:pt>
          <cx:pt idx="17218">299900</cx:pt>
          <cx:pt idx="17219">299880</cx:pt>
          <cx:pt idx="17220">299800</cx:pt>
          <cx:pt idx="17221">299800</cx:pt>
          <cx:pt idx="17222">299800</cx:pt>
          <cx:pt idx="17223">299800</cx:pt>
          <cx:pt idx="17224">299500</cx:pt>
          <cx:pt idx="17225">299500</cx:pt>
          <cx:pt idx="17226">299500</cx:pt>
          <cx:pt idx="17227">299500</cx:pt>
          <cx:pt idx="17228">299500</cx:pt>
          <cx:pt idx="17229">299500</cx:pt>
          <cx:pt idx="17230">299500</cx:pt>
          <cx:pt idx="17231">299500</cx:pt>
          <cx:pt idx="17232">299500</cx:pt>
          <cx:pt idx="17233">299500</cx:pt>
          <cx:pt idx="17234">299250</cx:pt>
          <cx:pt idx="17235">299000</cx:pt>
          <cx:pt idx="17236">299000</cx:pt>
          <cx:pt idx="17237">299000</cx:pt>
          <cx:pt idx="17238">299000</cx:pt>
          <cx:pt idx="17239">299000</cx:pt>
          <cx:pt idx="17240">299000</cx:pt>
          <cx:pt idx="17241">299000</cx:pt>
          <cx:pt idx="17242">299000</cx:pt>
          <cx:pt idx="17243">299000</cx:pt>
          <cx:pt idx="17244">299000</cx:pt>
          <cx:pt idx="17245">299000</cx:pt>
          <cx:pt idx="17246">299000</cx:pt>
          <cx:pt idx="17247">299000</cx:pt>
          <cx:pt idx="17248">299000</cx:pt>
          <cx:pt idx="17249">299000</cx:pt>
          <cx:pt idx="17250">299000</cx:pt>
          <cx:pt idx="17251">299000</cx:pt>
          <cx:pt idx="17252">299000</cx:pt>
          <cx:pt idx="17253">299000</cx:pt>
          <cx:pt idx="17254">299000</cx:pt>
          <cx:pt idx="17255">299000</cx:pt>
          <cx:pt idx="17256">299000</cx:pt>
          <cx:pt idx="17257">299000</cx:pt>
          <cx:pt idx="17258">299000</cx:pt>
          <cx:pt idx="17259">299000</cx:pt>
          <cx:pt idx="17260">299000</cx:pt>
          <cx:pt idx="17261">299000</cx:pt>
          <cx:pt idx="17262">299000</cx:pt>
          <cx:pt idx="17263">299000</cx:pt>
          <cx:pt idx="17264">299000</cx:pt>
          <cx:pt idx="17265">299000</cx:pt>
          <cx:pt idx="17266">299000</cx:pt>
          <cx:pt idx="17267">299000</cx:pt>
          <cx:pt idx="17268">299000</cx:pt>
          <cx:pt idx="17269">299000</cx:pt>
          <cx:pt idx="17270">299000</cx:pt>
          <cx:pt idx="17271">299000</cx:pt>
          <cx:pt idx="17272">299000</cx:pt>
          <cx:pt idx="17273">299000</cx:pt>
          <cx:pt idx="17274">299000</cx:pt>
          <cx:pt idx="17275">299000</cx:pt>
          <cx:pt idx="17276">299000</cx:pt>
          <cx:pt idx="17277">299000</cx:pt>
          <cx:pt idx="17278">299000</cx:pt>
          <cx:pt idx="17279">299000</cx:pt>
          <cx:pt idx="17280">299000</cx:pt>
          <cx:pt idx="17281">299000</cx:pt>
          <cx:pt idx="17282">299000</cx:pt>
          <cx:pt idx="17283">298950</cx:pt>
          <cx:pt idx="17284">298900</cx:pt>
          <cx:pt idx="17285">298900</cx:pt>
          <cx:pt idx="17286">298800</cx:pt>
          <cx:pt idx="17287">298700</cx:pt>
          <cx:pt idx="17288">298500</cx:pt>
          <cx:pt idx="17289">298500</cx:pt>
          <cx:pt idx="17290">298450</cx:pt>
          <cx:pt idx="17291">298000</cx:pt>
          <cx:pt idx="17292">298000</cx:pt>
          <cx:pt idx="17293">298000</cx:pt>
          <cx:pt idx="17294">298000</cx:pt>
          <cx:pt idx="17295">298000</cx:pt>
          <cx:pt idx="17296">298000</cx:pt>
          <cx:pt idx="17297">297975</cx:pt>
          <cx:pt idx="17298">297950</cx:pt>
          <cx:pt idx="17299">297950</cx:pt>
          <cx:pt idx="17300">297500</cx:pt>
          <cx:pt idx="17301">297500</cx:pt>
          <cx:pt idx="17302">297300</cx:pt>
          <cx:pt idx="17303">297262</cx:pt>
          <cx:pt idx="17304">297000</cx:pt>
          <cx:pt idx="17305">297000</cx:pt>
          <cx:pt idx="17306">297000</cx:pt>
          <cx:pt idx="17307">297000</cx:pt>
          <cx:pt idx="17308">297000</cx:pt>
          <cx:pt idx="17309">297000</cx:pt>
          <cx:pt idx="17310">297000</cx:pt>
          <cx:pt idx="17311">297000</cx:pt>
          <cx:pt idx="17312">297000</cx:pt>
          <cx:pt idx="17313">297000</cx:pt>
          <cx:pt idx="17314">296500</cx:pt>
          <cx:pt idx="17315">296500</cx:pt>
          <cx:pt idx="17316">296500</cx:pt>
          <cx:pt idx="17317">296500</cx:pt>
          <cx:pt idx="17318">296475</cx:pt>
          <cx:pt idx="17319">296000</cx:pt>
          <cx:pt idx="17320">296000</cx:pt>
          <cx:pt idx="17321">296000</cx:pt>
          <cx:pt idx="17322">296000</cx:pt>
          <cx:pt idx="17323">296000</cx:pt>
          <cx:pt idx="17324">296000</cx:pt>
          <cx:pt idx="17325">296000</cx:pt>
          <cx:pt idx="17326">295950</cx:pt>
          <cx:pt idx="17327">295832</cx:pt>
          <cx:pt idx="17328">295700</cx:pt>
          <cx:pt idx="17329">295500</cx:pt>
          <cx:pt idx="17330">295500</cx:pt>
          <cx:pt idx="17331">295500</cx:pt>
          <cx:pt idx="17332">295500</cx:pt>
          <cx:pt idx="17333">295450</cx:pt>
          <cx:pt idx="17334">295000</cx:pt>
          <cx:pt idx="17335">295000</cx:pt>
          <cx:pt idx="17336">295000</cx:pt>
          <cx:pt idx="17337">295000</cx:pt>
          <cx:pt idx="17338">295000</cx:pt>
          <cx:pt idx="17339">295000</cx:pt>
          <cx:pt idx="17340">295000</cx:pt>
          <cx:pt idx="17341">295000</cx:pt>
          <cx:pt idx="17342">295000</cx:pt>
          <cx:pt idx="17343">295000</cx:pt>
          <cx:pt idx="17344">295000</cx:pt>
          <cx:pt idx="17345">295000</cx:pt>
          <cx:pt idx="17346">295000</cx:pt>
          <cx:pt idx="17347">295000</cx:pt>
          <cx:pt idx="17348">295000</cx:pt>
          <cx:pt idx="17349">295000</cx:pt>
          <cx:pt idx="17350">295000</cx:pt>
          <cx:pt idx="17351">295000</cx:pt>
          <cx:pt idx="17352">295000</cx:pt>
          <cx:pt idx="17353">295000</cx:pt>
          <cx:pt idx="17354">295000</cx:pt>
          <cx:pt idx="17355">295000</cx:pt>
          <cx:pt idx="17356">295000</cx:pt>
          <cx:pt idx="17357">295000</cx:pt>
          <cx:pt idx="17358">295000</cx:pt>
          <cx:pt idx="17359">295000</cx:pt>
          <cx:pt idx="17360">295000</cx:pt>
          <cx:pt idx="17361">295000</cx:pt>
          <cx:pt idx="17362">295000</cx:pt>
          <cx:pt idx="17363">295000</cx:pt>
          <cx:pt idx="17364">295000</cx:pt>
          <cx:pt idx="17365">295000</cx:pt>
          <cx:pt idx="17366">295000</cx:pt>
          <cx:pt idx="17367">295000</cx:pt>
          <cx:pt idx="17368">295000</cx:pt>
          <cx:pt idx="17369">295000</cx:pt>
          <cx:pt idx="17370">295000</cx:pt>
          <cx:pt idx="17371">295000</cx:pt>
          <cx:pt idx="17372">295000</cx:pt>
          <cx:pt idx="17373">295000</cx:pt>
          <cx:pt idx="17374">295000</cx:pt>
          <cx:pt idx="17375">295000</cx:pt>
          <cx:pt idx="17376">295000</cx:pt>
          <cx:pt idx="17377">295000</cx:pt>
          <cx:pt idx="17378">295000</cx:pt>
          <cx:pt idx="17379">295000</cx:pt>
          <cx:pt idx="17380">295000</cx:pt>
          <cx:pt idx="17381">295000</cx:pt>
          <cx:pt idx="17382">295000</cx:pt>
          <cx:pt idx="17383">295000</cx:pt>
          <cx:pt idx="17384">295000</cx:pt>
          <cx:pt idx="17385">295000</cx:pt>
          <cx:pt idx="17386">295000</cx:pt>
          <cx:pt idx="17387">295000</cx:pt>
          <cx:pt idx="17388">295000</cx:pt>
          <cx:pt idx="17389">295000</cx:pt>
          <cx:pt idx="17390">295000</cx:pt>
          <cx:pt idx="17391">295000</cx:pt>
          <cx:pt idx="17392">295000</cx:pt>
          <cx:pt idx="17393">295000</cx:pt>
          <cx:pt idx="17394">295000</cx:pt>
          <cx:pt idx="17395">295000</cx:pt>
          <cx:pt idx="17396">295000</cx:pt>
          <cx:pt idx="17397">295000</cx:pt>
          <cx:pt idx="17398">295000</cx:pt>
          <cx:pt idx="17399">295000</cx:pt>
          <cx:pt idx="17400">295000</cx:pt>
          <cx:pt idx="17401">295000</cx:pt>
          <cx:pt idx="17402">295000</cx:pt>
          <cx:pt idx="17403">295000</cx:pt>
          <cx:pt idx="17404">295000</cx:pt>
          <cx:pt idx="17405">295000</cx:pt>
          <cx:pt idx="17406">295000</cx:pt>
          <cx:pt idx="17407">295000</cx:pt>
          <cx:pt idx="17408">294999</cx:pt>
          <cx:pt idx="17409">294950</cx:pt>
          <cx:pt idx="17410">294950</cx:pt>
          <cx:pt idx="17411">294950</cx:pt>
          <cx:pt idx="17412">294950</cx:pt>
          <cx:pt idx="17413">294950</cx:pt>
          <cx:pt idx="17414">294900</cx:pt>
          <cx:pt idx="17415">294900</cx:pt>
          <cx:pt idx="17416">294700</cx:pt>
          <cx:pt idx="17417">294570</cx:pt>
          <cx:pt idx="17418">294500</cx:pt>
          <cx:pt idx="17419">294450</cx:pt>
          <cx:pt idx="17420">294400</cx:pt>
          <cx:pt idx="17421">294350</cx:pt>
          <cx:pt idx="17422">294010</cx:pt>
          <cx:pt idx="17423">294000</cx:pt>
          <cx:pt idx="17424">294000</cx:pt>
          <cx:pt idx="17425">294000</cx:pt>
          <cx:pt idx="17426">294000</cx:pt>
          <cx:pt idx="17427">294000</cx:pt>
          <cx:pt idx="17428">294000</cx:pt>
          <cx:pt idx="17429">294000</cx:pt>
          <cx:pt idx="17430">294000</cx:pt>
          <cx:pt idx="17431">294000</cx:pt>
          <cx:pt idx="17432">294000</cx:pt>
          <cx:pt idx="17433">294000</cx:pt>
          <cx:pt idx="17434">294000</cx:pt>
          <cx:pt idx="17435">294000</cx:pt>
          <cx:pt idx="17436">294000</cx:pt>
          <cx:pt idx="17437">294000</cx:pt>
          <cx:pt idx="17438">294000</cx:pt>
          <cx:pt idx="17439">294000</cx:pt>
          <cx:pt idx="17440">293550</cx:pt>
          <cx:pt idx="17441">293550</cx:pt>
          <cx:pt idx="17442">293500</cx:pt>
          <cx:pt idx="17443">293467</cx:pt>
          <cx:pt idx="17444">293000</cx:pt>
          <cx:pt idx="17445">293000</cx:pt>
          <cx:pt idx="17446">293000</cx:pt>
          <cx:pt idx="17447">293000</cx:pt>
          <cx:pt idx="17448">293000</cx:pt>
          <cx:pt idx="17449">293000</cx:pt>
          <cx:pt idx="17450">293000</cx:pt>
          <cx:pt idx="17451">293000</cx:pt>
          <cx:pt idx="17452">293000</cx:pt>
          <cx:pt idx="17453">293000</cx:pt>
          <cx:pt idx="17454">293000</cx:pt>
          <cx:pt idx="17455">293000</cx:pt>
          <cx:pt idx="17456">292600</cx:pt>
          <cx:pt idx="17457">292500</cx:pt>
          <cx:pt idx="17458">292500</cx:pt>
          <cx:pt idx="17459">292500</cx:pt>
          <cx:pt idx="17460">292500</cx:pt>
          <cx:pt idx="17461">292500</cx:pt>
          <cx:pt idx="17462">292500</cx:pt>
          <cx:pt idx="17463">292500</cx:pt>
          <cx:pt idx="17464">292500</cx:pt>
          <cx:pt idx="17465">292500</cx:pt>
          <cx:pt idx="17466">292500</cx:pt>
          <cx:pt idx="17467">292050</cx:pt>
          <cx:pt idx="17468">292000</cx:pt>
          <cx:pt idx="17469">292000</cx:pt>
          <cx:pt idx="17470">292000</cx:pt>
          <cx:pt idx="17471">292000</cx:pt>
          <cx:pt idx="17472">292000</cx:pt>
          <cx:pt idx="17473">292000</cx:pt>
          <cx:pt idx="17474">292000</cx:pt>
          <cx:pt idx="17475">292000</cx:pt>
          <cx:pt idx="17476">292000</cx:pt>
          <cx:pt idx="17477">292000</cx:pt>
          <cx:pt idx="17478">292000</cx:pt>
          <cx:pt idx="17479">292000</cx:pt>
          <cx:pt idx="17480">292000</cx:pt>
          <cx:pt idx="17481">292000</cx:pt>
          <cx:pt idx="17482">292000</cx:pt>
          <cx:pt idx="17483">292000</cx:pt>
          <cx:pt idx="17484">292000</cx:pt>
          <cx:pt idx="17485">292000</cx:pt>
          <cx:pt idx="17486">292000</cx:pt>
          <cx:pt idx="17487">291970</cx:pt>
          <cx:pt idx="17488">291850</cx:pt>
          <cx:pt idx="17489">291750</cx:pt>
          <cx:pt idx="17490">291700</cx:pt>
          <cx:pt idx="17491">291600</cx:pt>
          <cx:pt idx="17492">291500</cx:pt>
          <cx:pt idx="17493">291500</cx:pt>
          <cx:pt idx="17494">291500</cx:pt>
          <cx:pt idx="17495">291375</cx:pt>
          <cx:pt idx="17496">291000</cx:pt>
          <cx:pt idx="17497">291000</cx:pt>
          <cx:pt idx="17498">291000</cx:pt>
          <cx:pt idx="17499">291000</cx:pt>
          <cx:pt idx="17500">291000</cx:pt>
          <cx:pt idx="17501">291000</cx:pt>
          <cx:pt idx="17502">291000</cx:pt>
          <cx:pt idx="17503">291000</cx:pt>
          <cx:pt idx="17504">291000</cx:pt>
          <cx:pt idx="17505">291000</cx:pt>
          <cx:pt idx="17506">291000</cx:pt>
          <cx:pt idx="17507">290900</cx:pt>
          <cx:pt idx="17508">290750</cx:pt>
          <cx:pt idx="17509">290700</cx:pt>
          <cx:pt idx="17510">290500</cx:pt>
          <cx:pt idx="17511">290500</cx:pt>
          <cx:pt idx="17512">290300</cx:pt>
          <cx:pt idx="17513">290256</cx:pt>
          <cx:pt idx="17514">290000</cx:pt>
          <cx:pt idx="17515">290000</cx:pt>
          <cx:pt idx="17516">290000</cx:pt>
          <cx:pt idx="17517">290000</cx:pt>
          <cx:pt idx="17518">290000</cx:pt>
          <cx:pt idx="17519">290000</cx:pt>
          <cx:pt idx="17520">290000</cx:pt>
          <cx:pt idx="17521">290000</cx:pt>
          <cx:pt idx="17522">290000</cx:pt>
          <cx:pt idx="17523">290000</cx:pt>
          <cx:pt idx="17524">290000</cx:pt>
          <cx:pt idx="17525">290000</cx:pt>
          <cx:pt idx="17526">290000</cx:pt>
          <cx:pt idx="17527">290000</cx:pt>
          <cx:pt idx="17528">290000</cx:pt>
          <cx:pt idx="17529">290000</cx:pt>
          <cx:pt idx="17530">290000</cx:pt>
          <cx:pt idx="17531">290000</cx:pt>
          <cx:pt idx="17532">290000</cx:pt>
          <cx:pt idx="17533">290000</cx:pt>
          <cx:pt idx="17534">290000</cx:pt>
          <cx:pt idx="17535">290000</cx:pt>
          <cx:pt idx="17536">290000</cx:pt>
          <cx:pt idx="17537">290000</cx:pt>
          <cx:pt idx="17538">290000</cx:pt>
          <cx:pt idx="17539">290000</cx:pt>
          <cx:pt idx="17540">290000</cx:pt>
          <cx:pt idx="17541">290000</cx:pt>
          <cx:pt idx="17542">290000</cx:pt>
          <cx:pt idx="17543">290000</cx:pt>
          <cx:pt idx="17544">290000</cx:pt>
          <cx:pt idx="17545">290000</cx:pt>
          <cx:pt idx="17546">290000</cx:pt>
          <cx:pt idx="17547">290000</cx:pt>
          <cx:pt idx="17548">290000</cx:pt>
          <cx:pt idx="17549">290000</cx:pt>
          <cx:pt idx="17550">290000</cx:pt>
          <cx:pt idx="17551">290000</cx:pt>
          <cx:pt idx="17552">290000</cx:pt>
          <cx:pt idx="17553">290000</cx:pt>
          <cx:pt idx="17554">290000</cx:pt>
          <cx:pt idx="17555">290000</cx:pt>
          <cx:pt idx="17556">290000</cx:pt>
          <cx:pt idx="17557">290000</cx:pt>
          <cx:pt idx="17558">290000</cx:pt>
          <cx:pt idx="17559">290000</cx:pt>
          <cx:pt idx="17560">290000</cx:pt>
          <cx:pt idx="17561">290000</cx:pt>
          <cx:pt idx="17562">290000</cx:pt>
          <cx:pt idx="17563">290000</cx:pt>
          <cx:pt idx="17564">290000</cx:pt>
          <cx:pt idx="17565">290000</cx:pt>
          <cx:pt idx="17566">290000</cx:pt>
          <cx:pt idx="17567">290000</cx:pt>
          <cx:pt idx="17568">290000</cx:pt>
          <cx:pt idx="17569">290000</cx:pt>
          <cx:pt idx="17570">290000</cx:pt>
          <cx:pt idx="17571">290000</cx:pt>
          <cx:pt idx="17572">290000</cx:pt>
          <cx:pt idx="17573">290000</cx:pt>
          <cx:pt idx="17574">290000</cx:pt>
          <cx:pt idx="17575">290000</cx:pt>
          <cx:pt idx="17576">290000</cx:pt>
          <cx:pt idx="17577">290000</cx:pt>
          <cx:pt idx="17578">290000</cx:pt>
          <cx:pt idx="17579">290000</cx:pt>
          <cx:pt idx="17580">290000</cx:pt>
          <cx:pt idx="17581">290000</cx:pt>
          <cx:pt idx="17582">290000</cx:pt>
          <cx:pt idx="17583">290000</cx:pt>
          <cx:pt idx="17584">290000</cx:pt>
          <cx:pt idx="17585">290000</cx:pt>
          <cx:pt idx="17586">290000</cx:pt>
          <cx:pt idx="17587">290000</cx:pt>
          <cx:pt idx="17588">290000</cx:pt>
          <cx:pt idx="17589">290000</cx:pt>
          <cx:pt idx="17590">290000</cx:pt>
          <cx:pt idx="17591">290000</cx:pt>
          <cx:pt idx="17592">290000</cx:pt>
          <cx:pt idx="17593">290000</cx:pt>
          <cx:pt idx="17594">290000</cx:pt>
          <cx:pt idx="17595">290000</cx:pt>
          <cx:pt idx="17596">290000</cx:pt>
          <cx:pt idx="17597">290000</cx:pt>
          <cx:pt idx="17598">290000</cx:pt>
          <cx:pt idx="17599">290000</cx:pt>
          <cx:pt idx="17600">290000</cx:pt>
          <cx:pt idx="17601">290000</cx:pt>
          <cx:pt idx="17602">289999</cx:pt>
          <cx:pt idx="17603">289999</cx:pt>
          <cx:pt idx="17604">289950</cx:pt>
          <cx:pt idx="17605">289950</cx:pt>
          <cx:pt idx="17606">289950</cx:pt>
          <cx:pt idx="17607">289950</cx:pt>
          <cx:pt idx="17608">289950</cx:pt>
          <cx:pt idx="17609">289950</cx:pt>
          <cx:pt idx="17610">289950</cx:pt>
          <cx:pt idx="17611">289950</cx:pt>
          <cx:pt idx="17612">289950</cx:pt>
          <cx:pt idx="17613">289950</cx:pt>
          <cx:pt idx="17614">289950</cx:pt>
          <cx:pt idx="17615">289950</cx:pt>
          <cx:pt idx="17616">289950</cx:pt>
          <cx:pt idx="17617">289950</cx:pt>
          <cx:pt idx="17618">289950</cx:pt>
          <cx:pt idx="17619">289950</cx:pt>
          <cx:pt idx="17620">289900</cx:pt>
          <cx:pt idx="17621">289900</cx:pt>
          <cx:pt idx="17622">289900</cx:pt>
          <cx:pt idx="17623">289659</cx:pt>
          <cx:pt idx="17624">289571</cx:pt>
          <cx:pt idx="17625">289500</cx:pt>
          <cx:pt idx="17626">289500</cx:pt>
          <cx:pt idx="17627">289500</cx:pt>
          <cx:pt idx="17628">289275</cx:pt>
          <cx:pt idx="17629">289200</cx:pt>
          <cx:pt idx="17630">289000</cx:pt>
          <cx:pt idx="17631">289000</cx:pt>
          <cx:pt idx="17632">289000</cx:pt>
          <cx:pt idx="17633">289000</cx:pt>
          <cx:pt idx="17634">289000</cx:pt>
          <cx:pt idx="17635">289000</cx:pt>
          <cx:pt idx="17636">289000</cx:pt>
          <cx:pt idx="17637">289000</cx:pt>
          <cx:pt idx="17638">289000</cx:pt>
          <cx:pt idx="17639">289000</cx:pt>
          <cx:pt idx="17640">289000</cx:pt>
          <cx:pt idx="17641">289000</cx:pt>
          <cx:pt idx="17642">289000</cx:pt>
          <cx:pt idx="17643">289000</cx:pt>
          <cx:pt idx="17644">289000</cx:pt>
          <cx:pt idx="17645">289000</cx:pt>
          <cx:pt idx="17646">289000</cx:pt>
          <cx:pt idx="17647">289000</cx:pt>
          <cx:pt idx="17648">289000</cx:pt>
          <cx:pt idx="17649">289000</cx:pt>
          <cx:pt idx="17650">288790</cx:pt>
          <cx:pt idx="17651">288790</cx:pt>
          <cx:pt idx="17652">288790</cx:pt>
          <cx:pt idx="17653">288400</cx:pt>
          <cx:pt idx="17654">288400</cx:pt>
          <cx:pt idx="17655">288350</cx:pt>
          <cx:pt idx="17656">288349</cx:pt>
          <cx:pt idx="17657">288250</cx:pt>
          <cx:pt idx="17658">288000</cx:pt>
          <cx:pt idx="17659">288000</cx:pt>
          <cx:pt idx="17660">288000</cx:pt>
          <cx:pt idx="17661">288000</cx:pt>
          <cx:pt idx="17662">288000</cx:pt>
          <cx:pt idx="17663">288000</cx:pt>
          <cx:pt idx="17664">288000</cx:pt>
          <cx:pt idx="17665">288000</cx:pt>
          <cx:pt idx="17666">288000</cx:pt>
          <cx:pt idx="17667">288000</cx:pt>
          <cx:pt idx="17668">288000</cx:pt>
          <cx:pt idx="17669">288000</cx:pt>
          <cx:pt idx="17670">287653</cx:pt>
          <cx:pt idx="17671">287600</cx:pt>
          <cx:pt idx="17672">287500</cx:pt>
          <cx:pt idx="17673">287500</cx:pt>
          <cx:pt idx="17674">287500</cx:pt>
          <cx:pt idx="17675">287500</cx:pt>
          <cx:pt idx="17676">287500</cx:pt>
          <cx:pt idx="17677">287500</cx:pt>
          <cx:pt idx="17678">287500</cx:pt>
          <cx:pt idx="17679">287500</cx:pt>
          <cx:pt idx="17680">287450</cx:pt>
          <cx:pt idx="17681">287200</cx:pt>
          <cx:pt idx="17682">287000</cx:pt>
          <cx:pt idx="17683">287000</cx:pt>
          <cx:pt idx="17684">287000</cx:pt>
          <cx:pt idx="17685">287000</cx:pt>
          <cx:pt idx="17686">287000</cx:pt>
          <cx:pt idx="17687">287000</cx:pt>
          <cx:pt idx="17688">287000</cx:pt>
          <cx:pt idx="17689">287000</cx:pt>
          <cx:pt idx="17690">287000</cx:pt>
          <cx:pt idx="17691">287000</cx:pt>
          <cx:pt idx="17692">287000</cx:pt>
          <cx:pt idx="17693">287000</cx:pt>
          <cx:pt idx="17694">287000</cx:pt>
          <cx:pt idx="17695">287000</cx:pt>
          <cx:pt idx="17696">287000</cx:pt>
          <cx:pt idx="17697">287000</cx:pt>
          <cx:pt idx="17698">287000</cx:pt>
          <cx:pt idx="17699">287000</cx:pt>
          <cx:pt idx="17700">287000</cx:pt>
          <cx:pt idx="17701">287000</cx:pt>
          <cx:pt idx="17702">287000</cx:pt>
          <cx:pt idx="17703">287000</cx:pt>
          <cx:pt idx="17704">287000</cx:pt>
          <cx:pt idx="17705">286950</cx:pt>
          <cx:pt idx="17706">286950</cx:pt>
          <cx:pt idx="17707">286900</cx:pt>
          <cx:pt idx="17708">286800</cx:pt>
          <cx:pt idx="17709">286700</cx:pt>
          <cx:pt idx="17710">286651</cx:pt>
          <cx:pt idx="17711">286500</cx:pt>
          <cx:pt idx="17712">286308</cx:pt>
          <cx:pt idx="17713">286300</cx:pt>
          <cx:pt idx="17714">286300</cx:pt>
          <cx:pt idx="17715">286285</cx:pt>
          <cx:pt idx="17716">286000</cx:pt>
          <cx:pt idx="17717">286000</cx:pt>
          <cx:pt idx="17718">286000</cx:pt>
          <cx:pt idx="17719">286000</cx:pt>
          <cx:pt idx="17720">286000</cx:pt>
          <cx:pt idx="17721">286000</cx:pt>
          <cx:pt idx="17722">286000</cx:pt>
          <cx:pt idx="17723">286000</cx:pt>
          <cx:pt idx="17724">286000</cx:pt>
          <cx:pt idx="17725">286000</cx:pt>
          <cx:pt idx="17726">286000</cx:pt>
          <cx:pt idx="17727">286000</cx:pt>
          <cx:pt idx="17728">286000</cx:pt>
          <cx:pt idx="17729">286000</cx:pt>
          <cx:pt idx="17730">285950</cx:pt>
          <cx:pt idx="17731">285950</cx:pt>
          <cx:pt idx="17732">285900</cx:pt>
          <cx:pt idx="17733">285750</cx:pt>
          <cx:pt idx="17734">285650</cx:pt>
          <cx:pt idx="17735">285500</cx:pt>
          <cx:pt idx="17736">285167</cx:pt>
          <cx:pt idx="17737">285000</cx:pt>
          <cx:pt idx="17738">285000</cx:pt>
          <cx:pt idx="17739">285000</cx:pt>
          <cx:pt idx="17740">285000</cx:pt>
          <cx:pt idx="17741">285000</cx:pt>
          <cx:pt idx="17742">285000</cx:pt>
          <cx:pt idx="17743">285000</cx:pt>
          <cx:pt idx="17744">285000</cx:pt>
          <cx:pt idx="17745">285000</cx:pt>
          <cx:pt idx="17746">285000</cx:pt>
          <cx:pt idx="17747">285000</cx:pt>
          <cx:pt idx="17748">285000</cx:pt>
          <cx:pt idx="17749">285000</cx:pt>
          <cx:pt idx="17750">285000</cx:pt>
          <cx:pt idx="17751">285000</cx:pt>
          <cx:pt idx="17752">285000</cx:pt>
          <cx:pt idx="17753">285000</cx:pt>
          <cx:pt idx="17754">285000</cx:pt>
          <cx:pt idx="17755">285000</cx:pt>
          <cx:pt idx="17756">285000</cx:pt>
          <cx:pt idx="17757">285000</cx:pt>
          <cx:pt idx="17758">285000</cx:pt>
          <cx:pt idx="17759">285000</cx:pt>
          <cx:pt idx="17760">285000</cx:pt>
          <cx:pt idx="17761">285000</cx:pt>
          <cx:pt idx="17762">285000</cx:pt>
          <cx:pt idx="17763">285000</cx:pt>
          <cx:pt idx="17764">285000</cx:pt>
          <cx:pt idx="17765">285000</cx:pt>
          <cx:pt idx="17766">285000</cx:pt>
          <cx:pt idx="17767">285000</cx:pt>
          <cx:pt idx="17768">285000</cx:pt>
          <cx:pt idx="17769">285000</cx:pt>
          <cx:pt idx="17770">285000</cx:pt>
          <cx:pt idx="17771">285000</cx:pt>
          <cx:pt idx="17772">285000</cx:pt>
          <cx:pt idx="17773">285000</cx:pt>
          <cx:pt idx="17774">285000</cx:pt>
          <cx:pt idx="17775">285000</cx:pt>
          <cx:pt idx="17776">285000</cx:pt>
          <cx:pt idx="17777">285000</cx:pt>
          <cx:pt idx="17778">285000</cx:pt>
          <cx:pt idx="17779">285000</cx:pt>
          <cx:pt idx="17780">285000</cx:pt>
          <cx:pt idx="17781">285000</cx:pt>
          <cx:pt idx="17782">285000</cx:pt>
          <cx:pt idx="17783">285000</cx:pt>
          <cx:pt idx="17784">285000</cx:pt>
          <cx:pt idx="17785">285000</cx:pt>
          <cx:pt idx="17786">285000</cx:pt>
          <cx:pt idx="17787">285000</cx:pt>
          <cx:pt idx="17788">285000</cx:pt>
          <cx:pt idx="17789">285000</cx:pt>
          <cx:pt idx="17790">285000</cx:pt>
          <cx:pt idx="17791">285000</cx:pt>
          <cx:pt idx="17792">285000</cx:pt>
          <cx:pt idx="17793">285000</cx:pt>
          <cx:pt idx="17794">285000</cx:pt>
          <cx:pt idx="17795">285000</cx:pt>
          <cx:pt idx="17796">285000</cx:pt>
          <cx:pt idx="17797">285000</cx:pt>
          <cx:pt idx="17798">285000</cx:pt>
          <cx:pt idx="17799">285000</cx:pt>
          <cx:pt idx="17800">285000</cx:pt>
          <cx:pt idx="17801">285000</cx:pt>
          <cx:pt idx="17802">285000</cx:pt>
          <cx:pt idx="17803">285000</cx:pt>
          <cx:pt idx="17804">285000</cx:pt>
          <cx:pt idx="17805">285000</cx:pt>
          <cx:pt idx="17806">285000</cx:pt>
          <cx:pt idx="17807">285000</cx:pt>
          <cx:pt idx="17808">285000</cx:pt>
          <cx:pt idx="17809">285000</cx:pt>
          <cx:pt idx="17810">285000</cx:pt>
          <cx:pt idx="17811">285000</cx:pt>
          <cx:pt idx="17812">285000</cx:pt>
          <cx:pt idx="17813">285000</cx:pt>
          <cx:pt idx="17814">285000</cx:pt>
          <cx:pt idx="17815">285000</cx:pt>
          <cx:pt idx="17816">285000</cx:pt>
          <cx:pt idx="17817">284950</cx:pt>
          <cx:pt idx="17818">284950</cx:pt>
          <cx:pt idx="17819">284900</cx:pt>
          <cx:pt idx="17820">284850</cx:pt>
          <cx:pt idx="17821">284700</cx:pt>
          <cx:pt idx="17822">284200</cx:pt>
          <cx:pt idx="17823">284200</cx:pt>
          <cx:pt idx="17824">284000</cx:pt>
          <cx:pt idx="17825">284000</cx:pt>
          <cx:pt idx="17826">284000</cx:pt>
          <cx:pt idx="17827">284000</cx:pt>
          <cx:pt idx="17828">284000</cx:pt>
          <cx:pt idx="17829">284000</cx:pt>
          <cx:pt idx="17830">284000</cx:pt>
          <cx:pt idx="17831">284000</cx:pt>
          <cx:pt idx="17832">284000</cx:pt>
          <cx:pt idx="17833">284000</cx:pt>
          <cx:pt idx="17834">284000</cx:pt>
          <cx:pt idx="17835">284000</cx:pt>
          <cx:pt idx="17836">284000</cx:pt>
          <cx:pt idx="17837">284000</cx:pt>
          <cx:pt idx="17838">284000</cx:pt>
          <cx:pt idx="17839">284000</cx:pt>
          <cx:pt idx="17840">284000</cx:pt>
          <cx:pt idx="17841">283748</cx:pt>
          <cx:pt idx="17842">283700</cx:pt>
          <cx:pt idx="17843">283500</cx:pt>
          <cx:pt idx="17844">283500</cx:pt>
          <cx:pt idx="17845">283500</cx:pt>
          <cx:pt idx="17846">283450</cx:pt>
          <cx:pt idx="17847">283200</cx:pt>
          <cx:pt idx="17848">283200</cx:pt>
          <cx:pt idx="17849">283000</cx:pt>
          <cx:pt idx="17850">283000</cx:pt>
          <cx:pt idx="17851">283000</cx:pt>
          <cx:pt idx="17852">283000</cx:pt>
          <cx:pt idx="17853">283000</cx:pt>
          <cx:pt idx="17854">283000</cx:pt>
          <cx:pt idx="17855">283000</cx:pt>
          <cx:pt idx="17856">283000</cx:pt>
          <cx:pt idx="17857">283000</cx:pt>
          <cx:pt idx="17858">282950</cx:pt>
          <cx:pt idx="17859">282900</cx:pt>
          <cx:pt idx="17860">282613</cx:pt>
          <cx:pt idx="17861">282510</cx:pt>
          <cx:pt idx="17862">282500</cx:pt>
          <cx:pt idx="17863">282500</cx:pt>
          <cx:pt idx="17864">282500</cx:pt>
          <cx:pt idx="17865">282500</cx:pt>
          <cx:pt idx="17866">282150</cx:pt>
          <cx:pt idx="17867">282000</cx:pt>
          <cx:pt idx="17868">282000</cx:pt>
          <cx:pt idx="17869">282000</cx:pt>
          <cx:pt idx="17870">282000</cx:pt>
          <cx:pt idx="17871">282000</cx:pt>
          <cx:pt idx="17872">282000</cx:pt>
          <cx:pt idx="17873">282000</cx:pt>
          <cx:pt idx="17874">282000</cx:pt>
          <cx:pt idx="17875">282000</cx:pt>
          <cx:pt idx="17876">282000</cx:pt>
          <cx:pt idx="17877">282000</cx:pt>
          <cx:pt idx="17878">282000</cx:pt>
          <cx:pt idx="17879">282000</cx:pt>
          <cx:pt idx="17880">282000</cx:pt>
          <cx:pt idx="17881">281700</cx:pt>
          <cx:pt idx="17882">281500</cx:pt>
          <cx:pt idx="17883">281000</cx:pt>
          <cx:pt idx="17884">281000</cx:pt>
          <cx:pt idx="17885">281000</cx:pt>
          <cx:pt idx="17886">281000</cx:pt>
          <cx:pt idx="17887">281000</cx:pt>
          <cx:pt idx="17888">281000</cx:pt>
          <cx:pt idx="17889">281000</cx:pt>
          <cx:pt idx="17890">281000</cx:pt>
          <cx:pt idx="17891">281000</cx:pt>
          <cx:pt idx="17892">280950</cx:pt>
          <cx:pt idx="17893">280927</cx:pt>
          <cx:pt idx="17894">280500</cx:pt>
          <cx:pt idx="17895">280500</cx:pt>
          <cx:pt idx="17896">280500</cx:pt>
          <cx:pt idx="17897">280500</cx:pt>
          <cx:pt idx="17898">280500</cx:pt>
          <cx:pt idx="17899">280500</cx:pt>
          <cx:pt idx="17900">280400</cx:pt>
          <cx:pt idx="17901">280300</cx:pt>
          <cx:pt idx="17902">280017</cx:pt>
          <cx:pt idx="17903">280005</cx:pt>
          <cx:pt idx="17904">280000</cx:pt>
          <cx:pt idx="17905">280000</cx:pt>
          <cx:pt idx="17906">280000</cx:pt>
          <cx:pt idx="17907">280000</cx:pt>
          <cx:pt idx="17908">280000</cx:pt>
          <cx:pt idx="17909">280000</cx:pt>
          <cx:pt idx="17910">280000</cx:pt>
          <cx:pt idx="17911">280000</cx:pt>
          <cx:pt idx="17912">280000</cx:pt>
          <cx:pt idx="17913">280000</cx:pt>
          <cx:pt idx="17914">280000</cx:pt>
          <cx:pt idx="17915">280000</cx:pt>
          <cx:pt idx="17916">280000</cx:pt>
          <cx:pt idx="17917">280000</cx:pt>
          <cx:pt idx="17918">280000</cx:pt>
          <cx:pt idx="17919">280000</cx:pt>
          <cx:pt idx="17920">280000</cx:pt>
          <cx:pt idx="17921">280000</cx:pt>
          <cx:pt idx="17922">280000</cx:pt>
          <cx:pt idx="17923">280000</cx:pt>
          <cx:pt idx="17924">280000</cx:pt>
          <cx:pt idx="17925">280000</cx:pt>
          <cx:pt idx="17926">280000</cx:pt>
          <cx:pt idx="17927">280000</cx:pt>
          <cx:pt idx="17928">280000</cx:pt>
          <cx:pt idx="17929">280000</cx:pt>
          <cx:pt idx="17930">280000</cx:pt>
          <cx:pt idx="17931">280000</cx:pt>
          <cx:pt idx="17932">280000</cx:pt>
          <cx:pt idx="17933">280000</cx:pt>
          <cx:pt idx="17934">280000</cx:pt>
          <cx:pt idx="17935">280000</cx:pt>
          <cx:pt idx="17936">280000</cx:pt>
          <cx:pt idx="17937">280000</cx:pt>
          <cx:pt idx="17938">280000</cx:pt>
          <cx:pt idx="17939">280000</cx:pt>
          <cx:pt idx="17940">280000</cx:pt>
          <cx:pt idx="17941">280000</cx:pt>
          <cx:pt idx="17942">280000</cx:pt>
          <cx:pt idx="17943">280000</cx:pt>
          <cx:pt idx="17944">280000</cx:pt>
          <cx:pt idx="17945">280000</cx:pt>
          <cx:pt idx="17946">280000</cx:pt>
          <cx:pt idx="17947">280000</cx:pt>
          <cx:pt idx="17948">280000</cx:pt>
          <cx:pt idx="17949">280000</cx:pt>
          <cx:pt idx="17950">280000</cx:pt>
          <cx:pt idx="17951">280000</cx:pt>
          <cx:pt idx="17952">280000</cx:pt>
          <cx:pt idx="17953">280000</cx:pt>
          <cx:pt idx="17954">280000</cx:pt>
          <cx:pt idx="17955">280000</cx:pt>
          <cx:pt idx="17956">280000</cx:pt>
          <cx:pt idx="17957">280000</cx:pt>
          <cx:pt idx="17958">280000</cx:pt>
          <cx:pt idx="17959">280000</cx:pt>
          <cx:pt idx="17960">280000</cx:pt>
          <cx:pt idx="17961">280000</cx:pt>
          <cx:pt idx="17962">280000</cx:pt>
          <cx:pt idx="17963">280000</cx:pt>
          <cx:pt idx="17964">280000</cx:pt>
          <cx:pt idx="17965">280000</cx:pt>
          <cx:pt idx="17966">280000</cx:pt>
          <cx:pt idx="17967">280000</cx:pt>
          <cx:pt idx="17968">280000</cx:pt>
          <cx:pt idx="17969">280000</cx:pt>
          <cx:pt idx="17970">280000</cx:pt>
          <cx:pt idx="17971">280000</cx:pt>
          <cx:pt idx="17972">280000</cx:pt>
          <cx:pt idx="17973">280000</cx:pt>
          <cx:pt idx="17974">280000</cx:pt>
          <cx:pt idx="17975">280000</cx:pt>
          <cx:pt idx="17976">280000</cx:pt>
          <cx:pt idx="17977">280000</cx:pt>
          <cx:pt idx="17978">280000</cx:pt>
          <cx:pt idx="17979">280000</cx:pt>
          <cx:pt idx="17980">280000</cx:pt>
          <cx:pt idx="17981">280000</cx:pt>
          <cx:pt idx="17982">280000</cx:pt>
          <cx:pt idx="17983">280000</cx:pt>
          <cx:pt idx="17984">280000</cx:pt>
          <cx:pt idx="17985">280000</cx:pt>
          <cx:pt idx="17986">280000</cx:pt>
          <cx:pt idx="17987">280000</cx:pt>
          <cx:pt idx="17988">280000</cx:pt>
          <cx:pt idx="17989">280000</cx:pt>
          <cx:pt idx="17990">280000</cx:pt>
          <cx:pt idx="17991">280000</cx:pt>
          <cx:pt idx="17992">280000</cx:pt>
          <cx:pt idx="17993">280000</cx:pt>
          <cx:pt idx="17994">280000</cx:pt>
          <cx:pt idx="17995">280000</cx:pt>
          <cx:pt idx="17996">280000</cx:pt>
          <cx:pt idx="17997">280000</cx:pt>
          <cx:pt idx="17998">280000</cx:pt>
          <cx:pt idx="17999">280000</cx:pt>
          <cx:pt idx="18000">280000</cx:pt>
          <cx:pt idx="18001">280000</cx:pt>
          <cx:pt idx="18002">280000</cx:pt>
          <cx:pt idx="18003">280000</cx:pt>
          <cx:pt idx="18004">280000</cx:pt>
          <cx:pt idx="18005">280000</cx:pt>
          <cx:pt idx="18006">280000</cx:pt>
          <cx:pt idx="18007">280000</cx:pt>
          <cx:pt idx="18008">280000</cx:pt>
          <cx:pt idx="18009">280000</cx:pt>
          <cx:pt idx="18010">280000</cx:pt>
          <cx:pt idx="18011">280000</cx:pt>
          <cx:pt idx="18012">280000</cx:pt>
          <cx:pt idx="18013">280000</cx:pt>
          <cx:pt idx="18014">279950</cx:pt>
          <cx:pt idx="18015">279950</cx:pt>
          <cx:pt idx="18016">279950</cx:pt>
          <cx:pt idx="18017">279950</cx:pt>
          <cx:pt idx="18018">279950</cx:pt>
          <cx:pt idx="18019">279950</cx:pt>
          <cx:pt idx="18020">279950</cx:pt>
          <cx:pt idx="18021">279950</cx:pt>
          <cx:pt idx="18022">279950</cx:pt>
          <cx:pt idx="18023">279950</cx:pt>
          <cx:pt idx="18024">279950</cx:pt>
          <cx:pt idx="18025">279950</cx:pt>
          <cx:pt idx="18026">279900</cx:pt>
          <cx:pt idx="18027">279900</cx:pt>
          <cx:pt idx="18028">279900</cx:pt>
          <cx:pt idx="18029">279900</cx:pt>
          <cx:pt idx="18030">279900</cx:pt>
          <cx:pt idx="18031">279900</cx:pt>
          <cx:pt idx="18032">279900</cx:pt>
          <cx:pt idx="18033">279900</cx:pt>
          <cx:pt idx="18034">279800</cx:pt>
          <cx:pt idx="18035">279500</cx:pt>
          <cx:pt idx="18036">279500</cx:pt>
          <cx:pt idx="18037">279475</cx:pt>
          <cx:pt idx="18038">279200</cx:pt>
          <cx:pt idx="18039">279000</cx:pt>
          <cx:pt idx="18040">279000</cx:pt>
          <cx:pt idx="18041">279000</cx:pt>
          <cx:pt idx="18042">279000</cx:pt>
          <cx:pt idx="18043">279000</cx:pt>
          <cx:pt idx="18044">279000</cx:pt>
          <cx:pt idx="18045">279000</cx:pt>
          <cx:pt idx="18046">279000</cx:pt>
          <cx:pt idx="18047">279000</cx:pt>
          <cx:pt idx="18048">279000</cx:pt>
          <cx:pt idx="18049">279000</cx:pt>
          <cx:pt idx="18050">279000</cx:pt>
          <cx:pt idx="18051">279000</cx:pt>
          <cx:pt idx="18052">279000</cx:pt>
          <cx:pt idx="18053">279000</cx:pt>
          <cx:pt idx="18054">279000</cx:pt>
          <cx:pt idx="18055">279000</cx:pt>
          <cx:pt idx="18056">279000</cx:pt>
          <cx:pt idx="18057">279000</cx:pt>
          <cx:pt idx="18058">279000</cx:pt>
          <cx:pt idx="18059">279000</cx:pt>
          <cx:pt idx="18060">279000</cx:pt>
          <cx:pt idx="18061">279000</cx:pt>
          <cx:pt idx="18062">279000</cx:pt>
          <cx:pt idx="18063">279000</cx:pt>
          <cx:pt idx="18064">279000</cx:pt>
          <cx:pt idx="18065">279000</cx:pt>
          <cx:pt idx="18066">279000</cx:pt>
          <cx:pt idx="18067">279000</cx:pt>
          <cx:pt idx="18068">279000</cx:pt>
          <cx:pt idx="18069">279000</cx:pt>
          <cx:pt idx="18070">279000</cx:pt>
          <cx:pt idx="18071">279000</cx:pt>
          <cx:pt idx="18072">279000</cx:pt>
          <cx:pt idx="18073">278800</cx:pt>
          <cx:pt idx="18074">278750</cx:pt>
          <cx:pt idx="18075">278500</cx:pt>
          <cx:pt idx="18076">278500</cx:pt>
          <cx:pt idx="18077">278500</cx:pt>
          <cx:pt idx="18078">278500</cx:pt>
          <cx:pt idx="18079">278226</cx:pt>
          <cx:pt idx="18080">278100</cx:pt>
          <cx:pt idx="18081">278000</cx:pt>
          <cx:pt idx="18082">278000</cx:pt>
          <cx:pt idx="18083">278000</cx:pt>
          <cx:pt idx="18084">278000</cx:pt>
          <cx:pt idx="18085">278000</cx:pt>
          <cx:pt idx="18086">278000</cx:pt>
          <cx:pt idx="18087">278000</cx:pt>
          <cx:pt idx="18088">278000</cx:pt>
          <cx:pt idx="18089">278000</cx:pt>
          <cx:pt idx="18090">278000</cx:pt>
          <cx:pt idx="18091">278000</cx:pt>
          <cx:pt idx="18092">278000</cx:pt>
          <cx:pt idx="18093">278000</cx:pt>
          <cx:pt idx="18094">278000</cx:pt>
          <cx:pt idx="18095">278000</cx:pt>
          <cx:pt idx="18096">278000</cx:pt>
          <cx:pt idx="18097">277950</cx:pt>
          <cx:pt idx="18098">277950</cx:pt>
          <cx:pt idx="18099">277700</cx:pt>
          <cx:pt idx="18100">277554</cx:pt>
          <cx:pt idx="18101">277500</cx:pt>
          <cx:pt idx="18102">277500</cx:pt>
          <cx:pt idx="18103">277500</cx:pt>
          <cx:pt idx="18104">277500</cx:pt>
          <cx:pt idx="18105">277500</cx:pt>
          <cx:pt idx="18106">277500</cx:pt>
          <cx:pt idx="18107">277500</cx:pt>
          <cx:pt idx="18108">277500</cx:pt>
          <cx:pt idx="18109">277284</cx:pt>
          <cx:pt idx="18110">277140</cx:pt>
          <cx:pt idx="18111">277000</cx:pt>
          <cx:pt idx="18112">277000</cx:pt>
          <cx:pt idx="18113">277000</cx:pt>
          <cx:pt idx="18114">277000</cx:pt>
          <cx:pt idx="18115">277000</cx:pt>
          <cx:pt idx="18116">277000</cx:pt>
          <cx:pt idx="18117">277000</cx:pt>
          <cx:pt idx="18118">277000</cx:pt>
          <cx:pt idx="18119">277000</cx:pt>
          <cx:pt idx="18120">276900</cx:pt>
          <cx:pt idx="18121">276900</cx:pt>
          <cx:pt idx="18122">276900</cx:pt>
          <cx:pt idx="18123">276750</cx:pt>
          <cx:pt idx="18124">276693</cx:pt>
          <cx:pt idx="18125">276500</cx:pt>
          <cx:pt idx="18126">276500</cx:pt>
          <cx:pt idx="18127">276200</cx:pt>
          <cx:pt idx="18128">276200</cx:pt>
          <cx:pt idx="18129">276000</cx:pt>
          <cx:pt idx="18130">276000</cx:pt>
          <cx:pt idx="18131">276000</cx:pt>
          <cx:pt idx="18132">276000</cx:pt>
          <cx:pt idx="18133">276000</cx:pt>
          <cx:pt idx="18134">276000</cx:pt>
          <cx:pt idx="18135">276000</cx:pt>
          <cx:pt idx="18136">276000</cx:pt>
          <cx:pt idx="18137">276000</cx:pt>
          <cx:pt idx="18138">276000</cx:pt>
          <cx:pt idx="18139">276000</cx:pt>
          <cx:pt idx="18140">276000</cx:pt>
          <cx:pt idx="18141">276000</cx:pt>
          <cx:pt idx="18142">276000</cx:pt>
          <cx:pt idx="18143">275900</cx:pt>
          <cx:pt idx="18144">275500</cx:pt>
          <cx:pt idx="18145">275500</cx:pt>
          <cx:pt idx="18146">275500</cx:pt>
          <cx:pt idx="18147">275436</cx:pt>
          <cx:pt idx="18148">275400</cx:pt>
          <cx:pt idx="18149">275250</cx:pt>
          <cx:pt idx="18150">275053</cx:pt>
          <cx:pt idx="18151">275000</cx:pt>
          <cx:pt idx="18152">275000</cx:pt>
          <cx:pt idx="18153">275000</cx:pt>
          <cx:pt idx="18154">275000</cx:pt>
          <cx:pt idx="18155">275000</cx:pt>
          <cx:pt idx="18156">275000</cx:pt>
          <cx:pt idx="18157">275000</cx:pt>
          <cx:pt idx="18158">275000</cx:pt>
          <cx:pt idx="18159">275000</cx:pt>
          <cx:pt idx="18160">275000</cx:pt>
          <cx:pt idx="18161">275000</cx:pt>
          <cx:pt idx="18162">275000</cx:pt>
          <cx:pt idx="18163">275000</cx:pt>
          <cx:pt idx="18164">275000</cx:pt>
          <cx:pt idx="18165">275000</cx:pt>
          <cx:pt idx="18166">275000</cx:pt>
          <cx:pt idx="18167">275000</cx:pt>
          <cx:pt idx="18168">275000</cx:pt>
          <cx:pt idx="18169">275000</cx:pt>
          <cx:pt idx="18170">275000</cx:pt>
          <cx:pt idx="18171">275000</cx:pt>
          <cx:pt idx="18172">275000</cx:pt>
          <cx:pt idx="18173">275000</cx:pt>
          <cx:pt idx="18174">275000</cx:pt>
          <cx:pt idx="18175">275000</cx:pt>
          <cx:pt idx="18176">275000</cx:pt>
          <cx:pt idx="18177">275000</cx:pt>
          <cx:pt idx="18178">275000</cx:pt>
          <cx:pt idx="18179">275000</cx:pt>
          <cx:pt idx="18180">275000</cx:pt>
          <cx:pt idx="18181">275000</cx:pt>
          <cx:pt idx="18182">275000</cx:pt>
          <cx:pt idx="18183">275000</cx:pt>
          <cx:pt idx="18184">275000</cx:pt>
          <cx:pt idx="18185">275000</cx:pt>
          <cx:pt idx="18186">275000</cx:pt>
          <cx:pt idx="18187">275000</cx:pt>
          <cx:pt idx="18188">275000</cx:pt>
          <cx:pt idx="18189">275000</cx:pt>
          <cx:pt idx="18190">275000</cx:pt>
          <cx:pt idx="18191">275000</cx:pt>
          <cx:pt idx="18192">275000</cx:pt>
          <cx:pt idx="18193">275000</cx:pt>
          <cx:pt idx="18194">275000</cx:pt>
          <cx:pt idx="18195">275000</cx:pt>
          <cx:pt idx="18196">275000</cx:pt>
          <cx:pt idx="18197">275000</cx:pt>
          <cx:pt idx="18198">275000</cx:pt>
          <cx:pt idx="18199">275000</cx:pt>
          <cx:pt idx="18200">275000</cx:pt>
          <cx:pt idx="18201">275000</cx:pt>
          <cx:pt idx="18202">275000</cx:pt>
          <cx:pt idx="18203">275000</cx:pt>
          <cx:pt idx="18204">275000</cx:pt>
          <cx:pt idx="18205">275000</cx:pt>
          <cx:pt idx="18206">275000</cx:pt>
          <cx:pt idx="18207">275000</cx:pt>
          <cx:pt idx="18208">275000</cx:pt>
          <cx:pt idx="18209">275000</cx:pt>
          <cx:pt idx="18210">275000</cx:pt>
          <cx:pt idx="18211">275000</cx:pt>
          <cx:pt idx="18212">275000</cx:pt>
          <cx:pt idx="18213">275000</cx:pt>
          <cx:pt idx="18214">275000</cx:pt>
          <cx:pt idx="18215">275000</cx:pt>
          <cx:pt idx="18216">275000</cx:pt>
          <cx:pt idx="18217">275000</cx:pt>
          <cx:pt idx="18218">275000</cx:pt>
          <cx:pt idx="18219">275000</cx:pt>
          <cx:pt idx="18220">275000</cx:pt>
          <cx:pt idx="18221">275000</cx:pt>
          <cx:pt idx="18222">275000</cx:pt>
          <cx:pt idx="18223">275000</cx:pt>
          <cx:pt idx="18224">275000</cx:pt>
          <cx:pt idx="18225">275000</cx:pt>
          <cx:pt idx="18226">275000</cx:pt>
          <cx:pt idx="18227">275000</cx:pt>
          <cx:pt idx="18228">275000</cx:pt>
          <cx:pt idx="18229">275000</cx:pt>
          <cx:pt idx="18230">275000</cx:pt>
          <cx:pt idx="18231">275000</cx:pt>
          <cx:pt idx="18232">275000</cx:pt>
          <cx:pt idx="18233">275000</cx:pt>
          <cx:pt idx="18234">275000</cx:pt>
          <cx:pt idx="18235">275000</cx:pt>
          <cx:pt idx="18236">275000</cx:pt>
          <cx:pt idx="18237">275000</cx:pt>
          <cx:pt idx="18238">275000</cx:pt>
          <cx:pt idx="18239">275000</cx:pt>
          <cx:pt idx="18240">275000</cx:pt>
          <cx:pt idx="18241">275000</cx:pt>
          <cx:pt idx="18242">275000</cx:pt>
          <cx:pt idx="18243">275000</cx:pt>
          <cx:pt idx="18244">275000</cx:pt>
          <cx:pt idx="18245">275000</cx:pt>
          <cx:pt idx="18246">275000</cx:pt>
          <cx:pt idx="18247">275000</cx:pt>
          <cx:pt idx="18248">275000</cx:pt>
          <cx:pt idx="18249">275000</cx:pt>
          <cx:pt idx="18250">275000</cx:pt>
          <cx:pt idx="18251">275000</cx:pt>
          <cx:pt idx="18252">275000</cx:pt>
          <cx:pt idx="18253">275000</cx:pt>
          <cx:pt idx="18254">275000</cx:pt>
          <cx:pt idx="18255">275000</cx:pt>
          <cx:pt idx="18256">275000</cx:pt>
          <cx:pt idx="18257">275000</cx:pt>
          <cx:pt idx="18258">275000</cx:pt>
          <cx:pt idx="18259">275000</cx:pt>
          <cx:pt idx="18260">275000</cx:pt>
          <cx:pt idx="18261">275000</cx:pt>
          <cx:pt idx="18262">275000</cx:pt>
          <cx:pt idx="18263">275000</cx:pt>
          <cx:pt idx="18264">274975</cx:pt>
          <cx:pt idx="18265">274950</cx:pt>
          <cx:pt idx="18266">274950</cx:pt>
          <cx:pt idx="18267">274950</cx:pt>
          <cx:pt idx="18268">274950</cx:pt>
          <cx:pt idx="18269">274950</cx:pt>
          <cx:pt idx="18270">274950</cx:pt>
          <cx:pt idx="18271">274900</cx:pt>
          <cx:pt idx="18272">274900</cx:pt>
          <cx:pt idx="18273">274900</cx:pt>
          <cx:pt idx="18274">274800</cx:pt>
          <cx:pt idx="18275">274700</cx:pt>
          <cx:pt idx="18276">274500</cx:pt>
          <cx:pt idx="18277">274500</cx:pt>
          <cx:pt idx="18278">274250</cx:pt>
          <cx:pt idx="18279">274000</cx:pt>
          <cx:pt idx="18280">274000</cx:pt>
          <cx:pt idx="18281">274000</cx:pt>
          <cx:pt idx="18282">274000</cx:pt>
          <cx:pt idx="18283">274000</cx:pt>
          <cx:pt idx="18284">274000</cx:pt>
          <cx:pt idx="18285">274000</cx:pt>
          <cx:pt idx="18286">274000</cx:pt>
          <cx:pt idx="18287">274000</cx:pt>
          <cx:pt idx="18288">274000</cx:pt>
          <cx:pt idx="18289">274000</cx:pt>
          <cx:pt idx="18290">273950</cx:pt>
          <cx:pt idx="18291">273500</cx:pt>
          <cx:pt idx="18292">273500</cx:pt>
          <cx:pt idx="18293">273500</cx:pt>
          <cx:pt idx="18294">273500</cx:pt>
          <cx:pt idx="18295">273500</cx:pt>
          <cx:pt idx="18296">273148</cx:pt>
          <cx:pt idx="18297">273000</cx:pt>
          <cx:pt idx="18298">273000</cx:pt>
          <cx:pt idx="18299">273000</cx:pt>
          <cx:pt idx="18300">273000</cx:pt>
          <cx:pt idx="18301">273000</cx:pt>
          <cx:pt idx="18302">273000</cx:pt>
          <cx:pt idx="18303">273000</cx:pt>
          <cx:pt idx="18304">273000</cx:pt>
          <cx:pt idx="18305">273000</cx:pt>
          <cx:pt idx="18306">273000</cx:pt>
          <cx:pt idx="18307">273000</cx:pt>
          <cx:pt idx="18308">273000</cx:pt>
          <cx:pt idx="18309">273000</cx:pt>
          <cx:pt idx="18310">272950</cx:pt>
          <cx:pt idx="18311">272925</cx:pt>
          <cx:pt idx="18312">272750</cx:pt>
          <cx:pt idx="18313">272500</cx:pt>
          <cx:pt idx="18314">272500</cx:pt>
          <cx:pt idx="18315">272500</cx:pt>
          <cx:pt idx="18316">272500</cx:pt>
          <cx:pt idx="18317">272450</cx:pt>
          <cx:pt idx="18318">272450</cx:pt>
          <cx:pt idx="18319">272167</cx:pt>
          <cx:pt idx="18320">272000</cx:pt>
          <cx:pt idx="18321">272000</cx:pt>
          <cx:pt idx="18322">272000</cx:pt>
          <cx:pt idx="18323">272000</cx:pt>
          <cx:pt idx="18324">272000</cx:pt>
          <cx:pt idx="18325">272000</cx:pt>
          <cx:pt idx="18326">272000</cx:pt>
          <cx:pt idx="18327">272000</cx:pt>
          <cx:pt idx="18328">272000</cx:pt>
          <cx:pt idx="18329">272000</cx:pt>
          <cx:pt idx="18330">272000</cx:pt>
          <cx:pt idx="18331">272000</cx:pt>
          <cx:pt idx="18332">272000</cx:pt>
          <cx:pt idx="18333">272000</cx:pt>
          <cx:pt idx="18334">272000</cx:pt>
          <cx:pt idx="18335">272000</cx:pt>
          <cx:pt idx="18336">272000</cx:pt>
          <cx:pt idx="18337">272000</cx:pt>
          <cx:pt idx="18338">272000</cx:pt>
          <cx:pt idx="18339">272000</cx:pt>
          <cx:pt idx="18340">272000</cx:pt>
          <cx:pt idx="18341">272000</cx:pt>
          <cx:pt idx="18342">272000</cx:pt>
          <cx:pt idx="18343">272000</cx:pt>
          <cx:pt idx="18344">272000</cx:pt>
          <cx:pt idx="18345">272000</cx:pt>
          <cx:pt idx="18346">272000</cx:pt>
          <cx:pt idx="18347">272000</cx:pt>
          <cx:pt idx="18348">271950</cx:pt>
          <cx:pt idx="18349">271920</cx:pt>
          <cx:pt idx="18350">271900</cx:pt>
          <cx:pt idx="18351">271900</cx:pt>
          <cx:pt idx="18352">271675</cx:pt>
          <cx:pt idx="18353">271500</cx:pt>
          <cx:pt idx="18354">271500</cx:pt>
          <cx:pt idx="18355">271310</cx:pt>
          <cx:pt idx="18356">271115</cx:pt>
          <cx:pt idx="18357">271000</cx:pt>
          <cx:pt idx="18358">271000</cx:pt>
          <cx:pt idx="18359">271000</cx:pt>
          <cx:pt idx="18360">271000</cx:pt>
          <cx:pt idx="18361">270950</cx:pt>
          <cx:pt idx="18362">270500</cx:pt>
          <cx:pt idx="18363">270500</cx:pt>
          <cx:pt idx="18364">270500</cx:pt>
          <cx:pt idx="18365">270000</cx:pt>
          <cx:pt idx="18366">270000</cx:pt>
          <cx:pt idx="18367">270000</cx:pt>
          <cx:pt idx="18368">270000</cx:pt>
          <cx:pt idx="18369">270000</cx:pt>
          <cx:pt idx="18370">270000</cx:pt>
          <cx:pt idx="18371">270000</cx:pt>
          <cx:pt idx="18372">270000</cx:pt>
          <cx:pt idx="18373">270000</cx:pt>
          <cx:pt idx="18374">270000</cx:pt>
          <cx:pt idx="18375">270000</cx:pt>
          <cx:pt idx="18376">270000</cx:pt>
          <cx:pt idx="18377">270000</cx:pt>
          <cx:pt idx="18378">270000</cx:pt>
          <cx:pt idx="18379">270000</cx:pt>
          <cx:pt idx="18380">270000</cx:pt>
          <cx:pt idx="18381">270000</cx:pt>
          <cx:pt idx="18382">270000</cx:pt>
          <cx:pt idx="18383">270000</cx:pt>
          <cx:pt idx="18384">270000</cx:pt>
          <cx:pt idx="18385">270000</cx:pt>
          <cx:pt idx="18386">270000</cx:pt>
          <cx:pt idx="18387">270000</cx:pt>
          <cx:pt idx="18388">270000</cx:pt>
          <cx:pt idx="18389">270000</cx:pt>
          <cx:pt idx="18390">270000</cx:pt>
          <cx:pt idx="18391">270000</cx:pt>
          <cx:pt idx="18392">270000</cx:pt>
          <cx:pt idx="18393">270000</cx:pt>
          <cx:pt idx="18394">270000</cx:pt>
          <cx:pt idx="18395">270000</cx:pt>
          <cx:pt idx="18396">270000</cx:pt>
          <cx:pt idx="18397">270000</cx:pt>
          <cx:pt idx="18398">270000</cx:pt>
          <cx:pt idx="18399">270000</cx:pt>
          <cx:pt idx="18400">270000</cx:pt>
          <cx:pt idx="18401">270000</cx:pt>
          <cx:pt idx="18402">270000</cx:pt>
          <cx:pt idx="18403">270000</cx:pt>
          <cx:pt idx="18404">270000</cx:pt>
          <cx:pt idx="18405">270000</cx:pt>
          <cx:pt idx="18406">270000</cx:pt>
          <cx:pt idx="18407">270000</cx:pt>
          <cx:pt idx="18408">270000</cx:pt>
          <cx:pt idx="18409">270000</cx:pt>
          <cx:pt idx="18410">270000</cx:pt>
          <cx:pt idx="18411">270000</cx:pt>
          <cx:pt idx="18412">270000</cx:pt>
          <cx:pt idx="18413">270000</cx:pt>
          <cx:pt idx="18414">270000</cx:pt>
          <cx:pt idx="18415">270000</cx:pt>
          <cx:pt idx="18416">270000</cx:pt>
          <cx:pt idx="18417">270000</cx:pt>
          <cx:pt idx="18418">270000</cx:pt>
          <cx:pt idx="18419">270000</cx:pt>
          <cx:pt idx="18420">270000</cx:pt>
          <cx:pt idx="18421">270000</cx:pt>
          <cx:pt idx="18422">270000</cx:pt>
          <cx:pt idx="18423">270000</cx:pt>
          <cx:pt idx="18424">270000</cx:pt>
          <cx:pt idx="18425">270000</cx:pt>
          <cx:pt idx="18426">270000</cx:pt>
          <cx:pt idx="18427">270000</cx:pt>
          <cx:pt idx="18428">270000</cx:pt>
          <cx:pt idx="18429">270000</cx:pt>
          <cx:pt idx="18430">270000</cx:pt>
          <cx:pt idx="18431">270000</cx:pt>
          <cx:pt idx="18432">270000</cx:pt>
          <cx:pt idx="18433">270000</cx:pt>
          <cx:pt idx="18434">270000</cx:pt>
          <cx:pt idx="18435">270000</cx:pt>
          <cx:pt idx="18436">270000</cx:pt>
          <cx:pt idx="18437">270000</cx:pt>
          <cx:pt idx="18438">270000</cx:pt>
          <cx:pt idx="18439">270000</cx:pt>
          <cx:pt idx="18440">270000</cx:pt>
          <cx:pt idx="18441">270000</cx:pt>
          <cx:pt idx="18442">270000</cx:pt>
          <cx:pt idx="18443">270000</cx:pt>
          <cx:pt idx="18444">270000</cx:pt>
          <cx:pt idx="18445">270000</cx:pt>
          <cx:pt idx="18446">270000</cx:pt>
          <cx:pt idx="18447">270000</cx:pt>
          <cx:pt idx="18448">270000</cx:pt>
          <cx:pt idx="18449">270000</cx:pt>
          <cx:pt idx="18450">270000</cx:pt>
          <cx:pt idx="18451">270000</cx:pt>
          <cx:pt idx="18452">270000</cx:pt>
          <cx:pt idx="18453">270000</cx:pt>
          <cx:pt idx="18454">270000</cx:pt>
          <cx:pt idx="18455">269950</cx:pt>
          <cx:pt idx="18456">269950</cx:pt>
          <cx:pt idx="18457">269950</cx:pt>
          <cx:pt idx="18458">269950</cx:pt>
          <cx:pt idx="18459">269950</cx:pt>
          <cx:pt idx="18460">269950</cx:pt>
          <cx:pt idx="18461">269950</cx:pt>
          <cx:pt idx="18462">269950</cx:pt>
          <cx:pt idx="18463">269950</cx:pt>
          <cx:pt idx="18464">269950</cx:pt>
          <cx:pt idx="18465">269950</cx:pt>
          <cx:pt idx="18466">269950</cx:pt>
          <cx:pt idx="18467">269950</cx:pt>
          <cx:pt idx="18468">269950</cx:pt>
          <cx:pt idx="18469">269950</cx:pt>
          <cx:pt idx="18470">269950</cx:pt>
          <cx:pt idx="18471">269950</cx:pt>
          <cx:pt idx="18472">269950</cx:pt>
          <cx:pt idx="18473">269950</cx:pt>
          <cx:pt idx="18474">269950</cx:pt>
          <cx:pt idx="18475">269900</cx:pt>
          <cx:pt idx="18476">269900</cx:pt>
          <cx:pt idx="18477">269900</cx:pt>
          <cx:pt idx="18478">269900</cx:pt>
          <cx:pt idx="18479">269900</cx:pt>
          <cx:pt idx="18480">269800</cx:pt>
          <cx:pt idx="18481">269500</cx:pt>
          <cx:pt idx="18482">269500</cx:pt>
          <cx:pt idx="18483">269500</cx:pt>
          <cx:pt idx="18484">269500</cx:pt>
          <cx:pt idx="18485">269500</cx:pt>
          <cx:pt idx="18486">269500</cx:pt>
          <cx:pt idx="18487">269500</cx:pt>
          <cx:pt idx="18488">269100</cx:pt>
          <cx:pt idx="18489">269000</cx:pt>
          <cx:pt idx="18490">269000</cx:pt>
          <cx:pt idx="18491">269000</cx:pt>
          <cx:pt idx="18492">269000</cx:pt>
          <cx:pt idx="18493">269000</cx:pt>
          <cx:pt idx="18494">269000</cx:pt>
          <cx:pt idx="18495">269000</cx:pt>
          <cx:pt idx="18496">269000</cx:pt>
          <cx:pt idx="18497">269000</cx:pt>
          <cx:pt idx="18498">269000</cx:pt>
          <cx:pt idx="18499">269000</cx:pt>
          <cx:pt idx="18500">269000</cx:pt>
          <cx:pt idx="18501">269000</cx:pt>
          <cx:pt idx="18502">269000</cx:pt>
          <cx:pt idx="18503">269000</cx:pt>
          <cx:pt idx="18504">269000</cx:pt>
          <cx:pt idx="18505">269000</cx:pt>
          <cx:pt idx="18506">269000</cx:pt>
          <cx:pt idx="18507">269000</cx:pt>
          <cx:pt idx="18508">268950</cx:pt>
          <cx:pt idx="18509">268750</cx:pt>
          <cx:pt idx="18510">268643</cx:pt>
          <cx:pt idx="18511">268500</cx:pt>
          <cx:pt idx="18512">268500</cx:pt>
          <cx:pt idx="18513">268500</cx:pt>
          <cx:pt idx="18514">268500</cx:pt>
          <cx:pt idx="18515">268500</cx:pt>
          <cx:pt idx="18516">268500</cx:pt>
          <cx:pt idx="18517">268500</cx:pt>
          <cx:pt idx="18518">268450</cx:pt>
          <cx:pt idx="18519">268300</cx:pt>
          <cx:pt idx="18520">268000</cx:pt>
          <cx:pt idx="18521">268000</cx:pt>
          <cx:pt idx="18522">268000</cx:pt>
          <cx:pt idx="18523">268000</cx:pt>
          <cx:pt idx="18524">268000</cx:pt>
          <cx:pt idx="18525">268000</cx:pt>
          <cx:pt idx="18526">268000</cx:pt>
          <cx:pt idx="18527">268000</cx:pt>
          <cx:pt idx="18528">268000</cx:pt>
          <cx:pt idx="18529">268000</cx:pt>
          <cx:pt idx="18530">268000</cx:pt>
          <cx:pt idx="18531">268000</cx:pt>
          <cx:pt idx="18532">268000</cx:pt>
          <cx:pt idx="18533">268000</cx:pt>
          <cx:pt idx="18534">268000</cx:pt>
          <cx:pt idx="18535">268000</cx:pt>
          <cx:pt idx="18536">268000</cx:pt>
          <cx:pt idx="18537">268000</cx:pt>
          <cx:pt idx="18538">268000</cx:pt>
          <cx:pt idx="18539">268000</cx:pt>
          <cx:pt idx="18540">267950</cx:pt>
          <cx:pt idx="18541">267800</cx:pt>
          <cx:pt idx="18542">267800</cx:pt>
          <cx:pt idx="18543">267500</cx:pt>
          <cx:pt idx="18544">267500</cx:pt>
          <cx:pt idx="18545">267500</cx:pt>
          <cx:pt idx="18546">267500</cx:pt>
          <cx:pt idx="18547">267500</cx:pt>
          <cx:pt idx="18548">267500</cx:pt>
          <cx:pt idx="18549">267500</cx:pt>
          <cx:pt idx="18550">267500</cx:pt>
          <cx:pt idx="18551">267500</cx:pt>
          <cx:pt idx="18552">267500</cx:pt>
          <cx:pt idx="18553">267500</cx:pt>
          <cx:pt idx="18554">267345</cx:pt>
          <cx:pt idx="18555">267300</cx:pt>
          <cx:pt idx="18556">267100</cx:pt>
          <cx:pt idx="18557">267000</cx:pt>
          <cx:pt idx="18558">267000</cx:pt>
          <cx:pt idx="18559">267000</cx:pt>
          <cx:pt idx="18560">267000</cx:pt>
          <cx:pt idx="18561">267000</cx:pt>
          <cx:pt idx="18562">267000</cx:pt>
          <cx:pt idx="18563">267000</cx:pt>
          <cx:pt idx="18564">267000</cx:pt>
          <cx:pt idx="18565">267000</cx:pt>
          <cx:pt idx="18566">267000</cx:pt>
          <cx:pt idx="18567">267000</cx:pt>
          <cx:pt idx="18568">267000</cx:pt>
          <cx:pt idx="18569">267000</cx:pt>
          <cx:pt idx="18570">267000</cx:pt>
          <cx:pt idx="18571">267000</cx:pt>
          <cx:pt idx="18572">267000</cx:pt>
          <cx:pt idx="18573">266950</cx:pt>
          <cx:pt idx="18574">266750</cx:pt>
          <cx:pt idx="18575">266500</cx:pt>
          <cx:pt idx="18576">266500</cx:pt>
          <cx:pt idx="18577">266490</cx:pt>
          <cx:pt idx="18578">266200</cx:pt>
          <cx:pt idx="18579">266000</cx:pt>
          <cx:pt idx="18580">266000</cx:pt>
          <cx:pt idx="18581">266000</cx:pt>
          <cx:pt idx="18582">266000</cx:pt>
          <cx:pt idx="18583">266000</cx:pt>
          <cx:pt idx="18584">266000</cx:pt>
          <cx:pt idx="18585">266000</cx:pt>
          <cx:pt idx="18586">266000</cx:pt>
          <cx:pt idx="18587">265953</cx:pt>
          <cx:pt idx="18588">265950</cx:pt>
          <cx:pt idx="18589">265950</cx:pt>
          <cx:pt idx="18590">265900</cx:pt>
          <cx:pt idx="18591">265800</cx:pt>
          <cx:pt idx="18592">265500</cx:pt>
          <cx:pt idx="18593">265500</cx:pt>
          <cx:pt idx="18594">265050</cx:pt>
          <cx:pt idx="18595">265000</cx:pt>
          <cx:pt idx="18596">265000</cx:pt>
          <cx:pt idx="18597">265000</cx:pt>
          <cx:pt idx="18598">265000</cx:pt>
          <cx:pt idx="18599">265000</cx:pt>
          <cx:pt idx="18600">265000</cx:pt>
          <cx:pt idx="18601">265000</cx:pt>
          <cx:pt idx="18602">265000</cx:pt>
          <cx:pt idx="18603">265000</cx:pt>
          <cx:pt idx="18604">265000</cx:pt>
          <cx:pt idx="18605">265000</cx:pt>
          <cx:pt idx="18606">265000</cx:pt>
          <cx:pt idx="18607">265000</cx:pt>
          <cx:pt idx="18608">265000</cx:pt>
          <cx:pt idx="18609">265000</cx:pt>
          <cx:pt idx="18610">265000</cx:pt>
          <cx:pt idx="18611">265000</cx:pt>
          <cx:pt idx="18612">265000</cx:pt>
          <cx:pt idx="18613">265000</cx:pt>
          <cx:pt idx="18614">265000</cx:pt>
          <cx:pt idx="18615">265000</cx:pt>
          <cx:pt idx="18616">265000</cx:pt>
          <cx:pt idx="18617">265000</cx:pt>
          <cx:pt idx="18618">265000</cx:pt>
          <cx:pt idx="18619">265000</cx:pt>
          <cx:pt idx="18620">265000</cx:pt>
          <cx:pt idx="18621">265000</cx:pt>
          <cx:pt idx="18622">265000</cx:pt>
          <cx:pt idx="18623">265000</cx:pt>
          <cx:pt idx="18624">265000</cx:pt>
          <cx:pt idx="18625">265000</cx:pt>
          <cx:pt idx="18626">265000</cx:pt>
          <cx:pt idx="18627">265000</cx:pt>
          <cx:pt idx="18628">265000</cx:pt>
          <cx:pt idx="18629">265000</cx:pt>
          <cx:pt idx="18630">265000</cx:pt>
          <cx:pt idx="18631">265000</cx:pt>
          <cx:pt idx="18632">265000</cx:pt>
          <cx:pt idx="18633">265000</cx:pt>
          <cx:pt idx="18634">265000</cx:pt>
          <cx:pt idx="18635">265000</cx:pt>
          <cx:pt idx="18636">265000</cx:pt>
          <cx:pt idx="18637">265000</cx:pt>
          <cx:pt idx="18638">265000</cx:pt>
          <cx:pt idx="18639">265000</cx:pt>
          <cx:pt idx="18640">265000</cx:pt>
          <cx:pt idx="18641">265000</cx:pt>
          <cx:pt idx="18642">265000</cx:pt>
          <cx:pt idx="18643">265000</cx:pt>
          <cx:pt idx="18644">265000</cx:pt>
          <cx:pt idx="18645">265000</cx:pt>
          <cx:pt idx="18646">265000</cx:pt>
          <cx:pt idx="18647">265000</cx:pt>
          <cx:pt idx="18648">265000</cx:pt>
          <cx:pt idx="18649">265000</cx:pt>
          <cx:pt idx="18650">265000</cx:pt>
          <cx:pt idx="18651">265000</cx:pt>
          <cx:pt idx="18652">265000</cx:pt>
          <cx:pt idx="18653">265000</cx:pt>
          <cx:pt idx="18654">265000</cx:pt>
          <cx:pt idx="18655">265000</cx:pt>
          <cx:pt idx="18656">265000</cx:pt>
          <cx:pt idx="18657">265000</cx:pt>
          <cx:pt idx="18658">265000</cx:pt>
          <cx:pt idx="18659">265000</cx:pt>
          <cx:pt idx="18660">265000</cx:pt>
          <cx:pt idx="18661">265000</cx:pt>
          <cx:pt idx="18662">265000</cx:pt>
          <cx:pt idx="18663">265000</cx:pt>
          <cx:pt idx="18664">265000</cx:pt>
          <cx:pt idx="18665">265000</cx:pt>
          <cx:pt idx="18666">265000</cx:pt>
          <cx:pt idx="18667">265000</cx:pt>
          <cx:pt idx="18668">265000</cx:pt>
          <cx:pt idx="18669">265000</cx:pt>
          <cx:pt idx="18670">265000</cx:pt>
          <cx:pt idx="18671">265000</cx:pt>
          <cx:pt idx="18672">265000</cx:pt>
          <cx:pt idx="18673">265000</cx:pt>
          <cx:pt idx="18674">265000</cx:pt>
          <cx:pt idx="18675">265000</cx:pt>
          <cx:pt idx="18676">265000</cx:pt>
          <cx:pt idx="18677">265000</cx:pt>
          <cx:pt idx="18678">265000</cx:pt>
          <cx:pt idx="18679">265000</cx:pt>
          <cx:pt idx="18680">265000</cx:pt>
          <cx:pt idx="18681">265000</cx:pt>
          <cx:pt idx="18682">265000</cx:pt>
          <cx:pt idx="18683">265000</cx:pt>
          <cx:pt idx="18684">265000</cx:pt>
          <cx:pt idx="18685">265000</cx:pt>
          <cx:pt idx="18686">265000</cx:pt>
          <cx:pt idx="18687">265000</cx:pt>
          <cx:pt idx="18688">265000</cx:pt>
          <cx:pt idx="18689">265000</cx:pt>
          <cx:pt idx="18690">264950</cx:pt>
          <cx:pt idx="18691">264950</cx:pt>
          <cx:pt idx="18692">264950</cx:pt>
          <cx:pt idx="18693">264950</cx:pt>
          <cx:pt idx="18694">264950</cx:pt>
          <cx:pt idx="18695">264950</cx:pt>
          <cx:pt idx="18696">264950</cx:pt>
          <cx:pt idx="18697">264950</cx:pt>
          <cx:pt idx="18698">264950</cx:pt>
          <cx:pt idx="18699">264900</cx:pt>
          <cx:pt idx="18700">264500</cx:pt>
          <cx:pt idx="18701">264500</cx:pt>
          <cx:pt idx="18702">264500</cx:pt>
          <cx:pt idx="18703">264500</cx:pt>
          <cx:pt idx="18704">264500</cx:pt>
          <cx:pt idx="18705">264250</cx:pt>
          <cx:pt idx="18706">264000</cx:pt>
          <cx:pt idx="18707">264000</cx:pt>
          <cx:pt idx="18708">264000</cx:pt>
          <cx:pt idx="18709">264000</cx:pt>
          <cx:pt idx="18710">264000</cx:pt>
          <cx:pt idx="18711">264000</cx:pt>
          <cx:pt idx="18712">263950</cx:pt>
          <cx:pt idx="18713">263900</cx:pt>
          <cx:pt idx="18714">263850</cx:pt>
          <cx:pt idx="18715">263700</cx:pt>
          <cx:pt idx="18716">263500</cx:pt>
          <cx:pt idx="18717">263500</cx:pt>
          <cx:pt idx="18718">263500</cx:pt>
          <cx:pt idx="18719">263500</cx:pt>
          <cx:pt idx="18720">263500</cx:pt>
          <cx:pt idx="18721">263400</cx:pt>
          <cx:pt idx="18722">263300</cx:pt>
          <cx:pt idx="18723">263000</cx:pt>
          <cx:pt idx="18724">263000</cx:pt>
          <cx:pt idx="18725">263000</cx:pt>
          <cx:pt idx="18726">263000</cx:pt>
          <cx:pt idx="18727">263000</cx:pt>
          <cx:pt idx="18728">263000</cx:pt>
          <cx:pt idx="18729">263000</cx:pt>
          <cx:pt idx="18730">263000</cx:pt>
          <cx:pt idx="18731">263000</cx:pt>
          <cx:pt idx="18732">263000</cx:pt>
          <cx:pt idx="18733">263000</cx:pt>
          <cx:pt idx="18734">263000</cx:pt>
          <cx:pt idx="18735">263000</cx:pt>
          <cx:pt idx="18736">262500</cx:pt>
          <cx:pt idx="18737">262500</cx:pt>
          <cx:pt idx="18738">262500</cx:pt>
          <cx:pt idx="18739">262500</cx:pt>
          <cx:pt idx="18740">262500</cx:pt>
          <cx:pt idx="18741">262500</cx:pt>
          <cx:pt idx="18742">262500</cx:pt>
          <cx:pt idx="18743">262500</cx:pt>
          <cx:pt idx="18744">262500</cx:pt>
          <cx:pt idx="18745">262500</cx:pt>
          <cx:pt idx="18746">262000</cx:pt>
          <cx:pt idx="18747">262000</cx:pt>
          <cx:pt idx="18748">262000</cx:pt>
          <cx:pt idx="18749">262000</cx:pt>
          <cx:pt idx="18750">262000</cx:pt>
          <cx:pt idx="18751">262000</cx:pt>
          <cx:pt idx="18752">262000</cx:pt>
          <cx:pt idx="18753">262000</cx:pt>
          <cx:pt idx="18754">262000</cx:pt>
          <cx:pt idx="18755">262000</cx:pt>
          <cx:pt idx="18756">262000</cx:pt>
          <cx:pt idx="18757">262000</cx:pt>
          <cx:pt idx="18758">261950</cx:pt>
          <cx:pt idx="18759">261590</cx:pt>
          <cx:pt idx="18760">261500</cx:pt>
          <cx:pt idx="18761">261500</cx:pt>
          <cx:pt idx="18762">261500</cx:pt>
          <cx:pt idx="18763">261500</cx:pt>
          <cx:pt idx="18764">261490</cx:pt>
          <cx:pt idx="18765">261350</cx:pt>
          <cx:pt idx="18766">261000</cx:pt>
          <cx:pt idx="18767">261000</cx:pt>
          <cx:pt idx="18768">261000</cx:pt>
          <cx:pt idx="18769">261000</cx:pt>
          <cx:pt idx="18770">261000</cx:pt>
          <cx:pt idx="18771">261000</cx:pt>
          <cx:pt idx="18772">261000</cx:pt>
          <cx:pt idx="18773">261000</cx:pt>
          <cx:pt idx="18774">261000</cx:pt>
          <cx:pt idx="18775">261000</cx:pt>
          <cx:pt idx="18776">260750</cx:pt>
          <cx:pt idx="18777">260656</cx:pt>
          <cx:pt idx="18778">260600</cx:pt>
          <cx:pt idx="18779">260250</cx:pt>
          <cx:pt idx="18780">260000</cx:pt>
          <cx:pt idx="18781">260000</cx:pt>
          <cx:pt idx="18782">260000</cx:pt>
          <cx:pt idx="18783">260000</cx:pt>
          <cx:pt idx="18784">260000</cx:pt>
          <cx:pt idx="18785">260000</cx:pt>
          <cx:pt idx="18786">260000</cx:pt>
          <cx:pt idx="18787">260000</cx:pt>
          <cx:pt idx="18788">260000</cx:pt>
          <cx:pt idx="18789">260000</cx:pt>
          <cx:pt idx="18790">260000</cx:pt>
          <cx:pt idx="18791">260000</cx:pt>
          <cx:pt idx="18792">260000</cx:pt>
          <cx:pt idx="18793">260000</cx:pt>
          <cx:pt idx="18794">260000</cx:pt>
          <cx:pt idx="18795">260000</cx:pt>
          <cx:pt idx="18796">260000</cx:pt>
          <cx:pt idx="18797">260000</cx:pt>
          <cx:pt idx="18798">260000</cx:pt>
          <cx:pt idx="18799">260000</cx:pt>
          <cx:pt idx="18800">260000</cx:pt>
          <cx:pt idx="18801">260000</cx:pt>
          <cx:pt idx="18802">260000</cx:pt>
          <cx:pt idx="18803">260000</cx:pt>
          <cx:pt idx="18804">260000</cx:pt>
          <cx:pt idx="18805">260000</cx:pt>
          <cx:pt idx="18806">260000</cx:pt>
          <cx:pt idx="18807">260000</cx:pt>
          <cx:pt idx="18808">260000</cx:pt>
          <cx:pt idx="18809">260000</cx:pt>
          <cx:pt idx="18810">260000</cx:pt>
          <cx:pt idx="18811">260000</cx:pt>
          <cx:pt idx="18812">260000</cx:pt>
          <cx:pt idx="18813">260000</cx:pt>
          <cx:pt idx="18814">260000</cx:pt>
          <cx:pt idx="18815">260000</cx:pt>
          <cx:pt idx="18816">260000</cx:pt>
          <cx:pt idx="18817">260000</cx:pt>
          <cx:pt idx="18818">260000</cx:pt>
          <cx:pt idx="18819">260000</cx:pt>
          <cx:pt idx="18820">260000</cx:pt>
          <cx:pt idx="18821">260000</cx:pt>
          <cx:pt idx="18822">260000</cx:pt>
          <cx:pt idx="18823">260000</cx:pt>
          <cx:pt idx="18824">260000</cx:pt>
          <cx:pt idx="18825">260000</cx:pt>
          <cx:pt idx="18826">260000</cx:pt>
          <cx:pt idx="18827">260000</cx:pt>
          <cx:pt idx="18828">260000</cx:pt>
          <cx:pt idx="18829">260000</cx:pt>
          <cx:pt idx="18830">260000</cx:pt>
          <cx:pt idx="18831">260000</cx:pt>
          <cx:pt idx="18832">260000</cx:pt>
          <cx:pt idx="18833">260000</cx:pt>
          <cx:pt idx="18834">260000</cx:pt>
          <cx:pt idx="18835">260000</cx:pt>
          <cx:pt idx="18836">260000</cx:pt>
          <cx:pt idx="18837">260000</cx:pt>
          <cx:pt idx="18838">260000</cx:pt>
          <cx:pt idx="18839">260000</cx:pt>
          <cx:pt idx="18840">260000</cx:pt>
          <cx:pt idx="18841">260000</cx:pt>
          <cx:pt idx="18842">260000</cx:pt>
          <cx:pt idx="18843">260000</cx:pt>
          <cx:pt idx="18844">260000</cx:pt>
          <cx:pt idx="18845">260000</cx:pt>
          <cx:pt idx="18846">260000</cx:pt>
          <cx:pt idx="18847">260000</cx:pt>
          <cx:pt idx="18848">260000</cx:pt>
          <cx:pt idx="18849">260000</cx:pt>
          <cx:pt idx="18850">260000</cx:pt>
          <cx:pt idx="18851">260000</cx:pt>
          <cx:pt idx="18852">260000</cx:pt>
          <cx:pt idx="18853">260000</cx:pt>
          <cx:pt idx="18854">260000</cx:pt>
          <cx:pt idx="18855">260000</cx:pt>
          <cx:pt idx="18856">260000</cx:pt>
          <cx:pt idx="18857">260000</cx:pt>
          <cx:pt idx="18858">260000</cx:pt>
          <cx:pt idx="18859">260000</cx:pt>
          <cx:pt idx="18860">260000</cx:pt>
          <cx:pt idx="18861">260000</cx:pt>
          <cx:pt idx="18862">260000</cx:pt>
          <cx:pt idx="18863">260000</cx:pt>
          <cx:pt idx="18864">260000</cx:pt>
          <cx:pt idx="18865">260000</cx:pt>
          <cx:pt idx="18866">260000</cx:pt>
          <cx:pt idx="18867">260000</cx:pt>
          <cx:pt idx="18868">260000</cx:pt>
          <cx:pt idx="18869">260000</cx:pt>
          <cx:pt idx="18870">260000</cx:pt>
          <cx:pt idx="18871">260000</cx:pt>
          <cx:pt idx="18872">260000</cx:pt>
          <cx:pt idx="18873">260000</cx:pt>
          <cx:pt idx="18874">260000</cx:pt>
          <cx:pt idx="18875">259950</cx:pt>
          <cx:pt idx="18876">259950</cx:pt>
          <cx:pt idx="18877">259950</cx:pt>
          <cx:pt idx="18878">259950</cx:pt>
          <cx:pt idx="18879">259950</cx:pt>
          <cx:pt idx="18880">259950</cx:pt>
          <cx:pt idx="18881">259950</cx:pt>
          <cx:pt idx="18882">259950</cx:pt>
          <cx:pt idx="18883">259950</cx:pt>
          <cx:pt idx="18884">259950</cx:pt>
          <cx:pt idx="18885">259950</cx:pt>
          <cx:pt idx="18886">259950</cx:pt>
          <cx:pt idx="18887">259900</cx:pt>
          <cx:pt idx="18888">259900</cx:pt>
          <cx:pt idx="18889">259900</cx:pt>
          <cx:pt idx="18890">259875</cx:pt>
          <cx:pt idx="18891">259875</cx:pt>
          <cx:pt idx="18892">259500</cx:pt>
          <cx:pt idx="18893">259500</cx:pt>
          <cx:pt idx="18894">259500</cx:pt>
          <cx:pt idx="18895">259500</cx:pt>
          <cx:pt idx="18896">259250</cx:pt>
          <cx:pt idx="18897">259000</cx:pt>
          <cx:pt idx="18898">259000</cx:pt>
          <cx:pt idx="18899">259000</cx:pt>
          <cx:pt idx="18900">259000</cx:pt>
          <cx:pt idx="18901">259000</cx:pt>
          <cx:pt idx="18902">259000</cx:pt>
          <cx:pt idx="18903">259000</cx:pt>
          <cx:pt idx="18904">259000</cx:pt>
          <cx:pt idx="18905">259000</cx:pt>
          <cx:pt idx="18906">259000</cx:pt>
          <cx:pt idx="18907">259000</cx:pt>
          <cx:pt idx="18908">259000</cx:pt>
          <cx:pt idx="18909">259000</cx:pt>
          <cx:pt idx="18910">259000</cx:pt>
          <cx:pt idx="18911">259000</cx:pt>
          <cx:pt idx="18912">259000</cx:pt>
          <cx:pt idx="18913">258950</cx:pt>
          <cx:pt idx="18914">258900</cx:pt>
          <cx:pt idx="18915">258800</cx:pt>
          <cx:pt idx="18916">258750</cx:pt>
          <cx:pt idx="18917">258500</cx:pt>
          <cx:pt idx="18918">258500</cx:pt>
          <cx:pt idx="18919">258305</cx:pt>
          <cx:pt idx="18920">258000</cx:pt>
          <cx:pt idx="18921">258000</cx:pt>
          <cx:pt idx="18922">258000</cx:pt>
          <cx:pt idx="18923">258000</cx:pt>
          <cx:pt idx="18924">258000</cx:pt>
          <cx:pt idx="18925">258000</cx:pt>
          <cx:pt idx="18926">258000</cx:pt>
          <cx:pt idx="18927">258000</cx:pt>
          <cx:pt idx="18928">258000</cx:pt>
          <cx:pt idx="18929">258000</cx:pt>
          <cx:pt idx="18930">258000</cx:pt>
          <cx:pt idx="18931">258000</cx:pt>
          <cx:pt idx="18932">258000</cx:pt>
          <cx:pt idx="18933">258000</cx:pt>
          <cx:pt idx="18934">258000</cx:pt>
          <cx:pt idx="18935">257950</cx:pt>
          <cx:pt idx="18936">257700</cx:pt>
          <cx:pt idx="18937">257500</cx:pt>
          <cx:pt idx="18938">257500</cx:pt>
          <cx:pt idx="18939">257500</cx:pt>
          <cx:pt idx="18940">257500</cx:pt>
          <cx:pt idx="18941">257500</cx:pt>
          <cx:pt idx="18942">257500</cx:pt>
          <cx:pt idx="18943">257500</cx:pt>
          <cx:pt idx="18944">257500</cx:pt>
          <cx:pt idx="18945">257500</cx:pt>
          <cx:pt idx="18946">257500</cx:pt>
          <cx:pt idx="18947">257200</cx:pt>
          <cx:pt idx="18948">257100</cx:pt>
          <cx:pt idx="18949">257000</cx:pt>
          <cx:pt idx="18950">257000</cx:pt>
          <cx:pt idx="18951">257000</cx:pt>
          <cx:pt idx="18952">257000</cx:pt>
          <cx:pt idx="18953">257000</cx:pt>
          <cx:pt idx="18954">257000</cx:pt>
          <cx:pt idx="18955">257000</cx:pt>
          <cx:pt idx="18956">257000</cx:pt>
          <cx:pt idx="18957">257000</cx:pt>
          <cx:pt idx="18958">257000</cx:pt>
          <cx:pt idx="18959">257000</cx:pt>
          <cx:pt idx="18960">257000</cx:pt>
          <cx:pt idx="18961">257000</cx:pt>
          <cx:pt idx="18962">257000</cx:pt>
          <cx:pt idx="18963">257000</cx:pt>
          <cx:pt idx="18964">257000</cx:pt>
          <cx:pt idx="18965">257000</cx:pt>
          <cx:pt idx="18966">257000</cx:pt>
          <cx:pt idx="18967">257000</cx:pt>
          <cx:pt idx="18968">256950</cx:pt>
          <cx:pt idx="18969">256900</cx:pt>
          <cx:pt idx="18970">256883</cx:pt>
          <cx:pt idx="18971">256750</cx:pt>
          <cx:pt idx="18972">256703</cx:pt>
          <cx:pt idx="18973">256500</cx:pt>
          <cx:pt idx="18974">256500</cx:pt>
          <cx:pt idx="18975">256500</cx:pt>
          <cx:pt idx="18976">256400</cx:pt>
          <cx:pt idx="18977">256000</cx:pt>
          <cx:pt idx="18978">256000</cx:pt>
          <cx:pt idx="18979">256000</cx:pt>
          <cx:pt idx="18980">256000</cx:pt>
          <cx:pt idx="18981">256000</cx:pt>
          <cx:pt idx="18982">256000</cx:pt>
          <cx:pt idx="18983">256000</cx:pt>
          <cx:pt idx="18984">256000</cx:pt>
          <cx:pt idx="18985">255950</cx:pt>
          <cx:pt idx="18986">255950</cx:pt>
          <cx:pt idx="18987">255900</cx:pt>
          <cx:pt idx="18988">255544</cx:pt>
          <cx:pt idx="18989">255500</cx:pt>
          <cx:pt idx="18990">255500</cx:pt>
          <cx:pt idx="18991">255500</cx:pt>
          <cx:pt idx="18992">255500</cx:pt>
          <cx:pt idx="18993">255000</cx:pt>
          <cx:pt idx="18994">255000</cx:pt>
          <cx:pt idx="18995">255000</cx:pt>
          <cx:pt idx="18996">255000</cx:pt>
          <cx:pt idx="18997">255000</cx:pt>
          <cx:pt idx="18998">255000</cx:pt>
          <cx:pt idx="18999">255000</cx:pt>
          <cx:pt idx="19000">255000</cx:pt>
          <cx:pt idx="19001">255000</cx:pt>
          <cx:pt idx="19002">255000</cx:pt>
          <cx:pt idx="19003">255000</cx:pt>
          <cx:pt idx="19004">255000</cx:pt>
          <cx:pt idx="19005">255000</cx:pt>
          <cx:pt idx="19006">255000</cx:pt>
          <cx:pt idx="19007">255000</cx:pt>
          <cx:pt idx="19008">255000</cx:pt>
          <cx:pt idx="19009">255000</cx:pt>
          <cx:pt idx="19010">255000</cx:pt>
          <cx:pt idx="19011">255000</cx:pt>
          <cx:pt idx="19012">255000</cx:pt>
          <cx:pt idx="19013">255000</cx:pt>
          <cx:pt idx="19014">255000</cx:pt>
          <cx:pt idx="19015">255000</cx:pt>
          <cx:pt idx="19016">255000</cx:pt>
          <cx:pt idx="19017">255000</cx:pt>
          <cx:pt idx="19018">255000</cx:pt>
          <cx:pt idx="19019">255000</cx:pt>
          <cx:pt idx="19020">255000</cx:pt>
          <cx:pt idx="19021">255000</cx:pt>
          <cx:pt idx="19022">255000</cx:pt>
          <cx:pt idx="19023">255000</cx:pt>
          <cx:pt idx="19024">255000</cx:pt>
          <cx:pt idx="19025">255000</cx:pt>
          <cx:pt idx="19026">255000</cx:pt>
          <cx:pt idx="19027">255000</cx:pt>
          <cx:pt idx="19028">255000</cx:pt>
          <cx:pt idx="19029">255000</cx:pt>
          <cx:pt idx="19030">255000</cx:pt>
          <cx:pt idx="19031">255000</cx:pt>
          <cx:pt idx="19032">255000</cx:pt>
          <cx:pt idx="19033">255000</cx:pt>
          <cx:pt idx="19034">255000</cx:pt>
          <cx:pt idx="19035">255000</cx:pt>
          <cx:pt idx="19036">255000</cx:pt>
          <cx:pt idx="19037">255000</cx:pt>
          <cx:pt idx="19038">255000</cx:pt>
          <cx:pt idx="19039">255000</cx:pt>
          <cx:pt idx="19040">255000</cx:pt>
          <cx:pt idx="19041">255000</cx:pt>
          <cx:pt idx="19042">255000</cx:pt>
          <cx:pt idx="19043">255000</cx:pt>
          <cx:pt idx="19044">255000</cx:pt>
          <cx:pt idx="19045">255000</cx:pt>
          <cx:pt idx="19046">255000</cx:pt>
          <cx:pt idx="19047">255000</cx:pt>
          <cx:pt idx="19048">255000</cx:pt>
          <cx:pt idx="19049">255000</cx:pt>
          <cx:pt idx="19050">255000</cx:pt>
          <cx:pt idx="19051">255000</cx:pt>
          <cx:pt idx="19052">255000</cx:pt>
          <cx:pt idx="19053">255000</cx:pt>
          <cx:pt idx="19054">255000</cx:pt>
          <cx:pt idx="19055">255000</cx:pt>
          <cx:pt idx="19056">255000</cx:pt>
          <cx:pt idx="19057">255000</cx:pt>
          <cx:pt idx="19058">255000</cx:pt>
          <cx:pt idx="19059">255000</cx:pt>
          <cx:pt idx="19060">255000</cx:pt>
          <cx:pt idx="19061">255000</cx:pt>
          <cx:pt idx="19062">255000</cx:pt>
          <cx:pt idx="19063">255000</cx:pt>
          <cx:pt idx="19064">255000</cx:pt>
          <cx:pt idx="19065">255000</cx:pt>
          <cx:pt idx="19066">255000</cx:pt>
          <cx:pt idx="19067">255000</cx:pt>
          <cx:pt idx="19068">255000</cx:pt>
          <cx:pt idx="19069">255000</cx:pt>
          <cx:pt idx="19070">255000</cx:pt>
          <cx:pt idx="19071">255000</cx:pt>
          <cx:pt idx="19072">255000</cx:pt>
          <cx:pt idx="19073">255000</cx:pt>
          <cx:pt idx="19074">255000</cx:pt>
          <cx:pt idx="19075">255000</cx:pt>
          <cx:pt idx="19076">255000</cx:pt>
          <cx:pt idx="19077">255000</cx:pt>
          <cx:pt idx="19078">255000</cx:pt>
          <cx:pt idx="19079">254999</cx:pt>
          <cx:pt idx="19080">254950</cx:pt>
          <cx:pt idx="19081">254950</cx:pt>
          <cx:pt idx="19082">254950</cx:pt>
          <cx:pt idx="19083">254922</cx:pt>
          <cx:pt idx="19084">254600</cx:pt>
          <cx:pt idx="19085">254500</cx:pt>
          <cx:pt idx="19086">254500</cx:pt>
          <cx:pt idx="19087">254000</cx:pt>
          <cx:pt idx="19088">254000</cx:pt>
          <cx:pt idx="19089">254000</cx:pt>
          <cx:pt idx="19090">254000</cx:pt>
          <cx:pt idx="19091">254000</cx:pt>
          <cx:pt idx="19092">254000</cx:pt>
          <cx:pt idx="19093">254000</cx:pt>
          <cx:pt idx="19094">254000</cx:pt>
          <cx:pt idx="19095">254000</cx:pt>
          <cx:pt idx="19096">254000</cx:pt>
          <cx:pt idx="19097">254000</cx:pt>
          <cx:pt idx="19098">254000</cx:pt>
          <cx:pt idx="19099">254000</cx:pt>
          <cx:pt idx="19100">253905</cx:pt>
          <cx:pt idx="19101">253779</cx:pt>
          <cx:pt idx="19102">253750</cx:pt>
          <cx:pt idx="19103">253500</cx:pt>
          <cx:pt idx="19104">253500</cx:pt>
          <cx:pt idx="19105">253500</cx:pt>
          <cx:pt idx="19106">253500</cx:pt>
          <cx:pt idx="19107">253400</cx:pt>
          <cx:pt idx="19108">253200</cx:pt>
          <cx:pt idx="19109">253101</cx:pt>
          <cx:pt idx="19110">253000</cx:pt>
          <cx:pt idx="19111">253000</cx:pt>
          <cx:pt idx="19112">253000</cx:pt>
          <cx:pt idx="19113">253000</cx:pt>
          <cx:pt idx="19114">253000</cx:pt>
          <cx:pt idx="19115">253000</cx:pt>
          <cx:pt idx="19116">253000</cx:pt>
          <cx:pt idx="19117">253000</cx:pt>
          <cx:pt idx="19118">253000</cx:pt>
          <cx:pt idx="19119">253000</cx:pt>
          <cx:pt idx="19120">253000</cx:pt>
          <cx:pt idx="19121">253000</cx:pt>
          <cx:pt idx="19122">253000</cx:pt>
          <cx:pt idx="19123">253000</cx:pt>
          <cx:pt idx="19124">253000</cx:pt>
          <cx:pt idx="19125">252750</cx:pt>
          <cx:pt idx="19126">252700</cx:pt>
          <cx:pt idx="19127">252500</cx:pt>
          <cx:pt idx="19128">252500</cx:pt>
          <cx:pt idx="19129">252500</cx:pt>
          <cx:pt idx="19130">252500</cx:pt>
          <cx:pt idx="19131">252500</cx:pt>
          <cx:pt idx="19132">252500</cx:pt>
          <cx:pt idx="19133">252500</cx:pt>
          <cx:pt idx="19134">252500</cx:pt>
          <cx:pt idx="19135">252500</cx:pt>
          <cx:pt idx="19136">252500</cx:pt>
          <cx:pt idx="19137">252350</cx:pt>
          <cx:pt idx="19138">252000</cx:pt>
          <cx:pt idx="19139">252000</cx:pt>
          <cx:pt idx="19140">252000</cx:pt>
          <cx:pt idx="19141">252000</cx:pt>
          <cx:pt idx="19142">252000</cx:pt>
          <cx:pt idx="19143">252000</cx:pt>
          <cx:pt idx="19144">252000</cx:pt>
          <cx:pt idx="19145">252000</cx:pt>
          <cx:pt idx="19146">252000</cx:pt>
          <cx:pt idx="19147">252000</cx:pt>
          <cx:pt idx="19148">252000</cx:pt>
          <cx:pt idx="19149">252000</cx:pt>
          <cx:pt idx="19150">252000</cx:pt>
          <cx:pt idx="19151">252000</cx:pt>
          <cx:pt idx="19152">252000</cx:pt>
          <cx:pt idx="19153">252000</cx:pt>
          <cx:pt idx="19154">252000</cx:pt>
          <cx:pt idx="19155">252000</cx:pt>
          <cx:pt idx="19156">252000</cx:pt>
          <cx:pt idx="19157">252000</cx:pt>
          <cx:pt idx="19158">252000</cx:pt>
          <cx:pt idx="19159">252000</cx:pt>
          <cx:pt idx="19160">251750</cx:pt>
          <cx:pt idx="19161">251700</cx:pt>
          <cx:pt idx="19162">251200</cx:pt>
          <cx:pt idx="19163">251100</cx:pt>
          <cx:pt idx="19164">251000</cx:pt>
          <cx:pt idx="19165">251000</cx:pt>
          <cx:pt idx="19166">251000</cx:pt>
          <cx:pt idx="19167">251000</cx:pt>
          <cx:pt idx="19168">251000</cx:pt>
          <cx:pt idx="19169">251000</cx:pt>
          <cx:pt idx="19170">251000</cx:pt>
          <cx:pt idx="19171">251000</cx:pt>
          <cx:pt idx="19172">251000</cx:pt>
          <cx:pt idx="19173">250800</cx:pt>
          <cx:pt idx="19174">250750</cx:pt>
          <cx:pt idx="19175">250600</cx:pt>
          <cx:pt idx="19176">250500</cx:pt>
          <cx:pt idx="19177">250275</cx:pt>
          <cx:pt idx="19178">250250</cx:pt>
          <cx:pt idx="19179">250200</cx:pt>
          <cx:pt idx="19180">250000</cx:pt>
          <cx:pt idx="19181">250000</cx:pt>
          <cx:pt idx="19182">250000</cx:pt>
          <cx:pt idx="19183">250000</cx:pt>
          <cx:pt idx="19184">250000</cx:pt>
          <cx:pt idx="19185">250000</cx:pt>
          <cx:pt idx="19186">250000</cx:pt>
          <cx:pt idx="19187">250000</cx:pt>
          <cx:pt idx="19188">250000</cx:pt>
          <cx:pt idx="19189">250000</cx:pt>
          <cx:pt idx="19190">250000</cx:pt>
          <cx:pt idx="19191">250000</cx:pt>
          <cx:pt idx="19192">250000</cx:pt>
          <cx:pt idx="19193">250000</cx:pt>
          <cx:pt idx="19194">250000</cx:pt>
          <cx:pt idx="19195">250000</cx:pt>
          <cx:pt idx="19196">250000</cx:pt>
          <cx:pt idx="19197">250000</cx:pt>
          <cx:pt idx="19198">250000</cx:pt>
          <cx:pt idx="19199">250000</cx:pt>
          <cx:pt idx="19200">250000</cx:pt>
          <cx:pt idx="19201">250000</cx:pt>
          <cx:pt idx="19202">250000</cx:pt>
          <cx:pt idx="19203">250000</cx:pt>
          <cx:pt idx="19204">250000</cx:pt>
          <cx:pt idx="19205">250000</cx:pt>
          <cx:pt idx="19206">250000</cx:pt>
          <cx:pt idx="19207">250000</cx:pt>
          <cx:pt idx="19208">250000</cx:pt>
          <cx:pt idx="19209">250000</cx:pt>
          <cx:pt idx="19210">250000</cx:pt>
          <cx:pt idx="19211">250000</cx:pt>
          <cx:pt idx="19212">250000</cx:pt>
          <cx:pt idx="19213">250000</cx:pt>
          <cx:pt idx="19214">250000</cx:pt>
          <cx:pt idx="19215">250000</cx:pt>
          <cx:pt idx="19216">250000</cx:pt>
          <cx:pt idx="19217">250000</cx:pt>
          <cx:pt idx="19218">250000</cx:pt>
          <cx:pt idx="19219">250000</cx:pt>
          <cx:pt idx="19220">250000</cx:pt>
          <cx:pt idx="19221">250000</cx:pt>
          <cx:pt idx="19222">250000</cx:pt>
          <cx:pt idx="19223">250000</cx:pt>
          <cx:pt idx="19224">250000</cx:pt>
          <cx:pt idx="19225">250000</cx:pt>
          <cx:pt idx="19226">250000</cx:pt>
          <cx:pt idx="19227">250000</cx:pt>
          <cx:pt idx="19228">250000</cx:pt>
          <cx:pt idx="19229">250000</cx:pt>
          <cx:pt idx="19230">250000</cx:pt>
          <cx:pt idx="19231">250000</cx:pt>
          <cx:pt idx="19232">250000</cx:pt>
          <cx:pt idx="19233">250000</cx:pt>
          <cx:pt idx="19234">250000</cx:pt>
          <cx:pt idx="19235">250000</cx:pt>
          <cx:pt idx="19236">250000</cx:pt>
          <cx:pt idx="19237">250000</cx:pt>
          <cx:pt idx="19238">250000</cx:pt>
          <cx:pt idx="19239">250000</cx:pt>
          <cx:pt idx="19240">250000</cx:pt>
          <cx:pt idx="19241">250000</cx:pt>
          <cx:pt idx="19242">250000</cx:pt>
          <cx:pt idx="19243">250000</cx:pt>
          <cx:pt idx="19244">250000</cx:pt>
          <cx:pt idx="19245">250000</cx:pt>
          <cx:pt idx="19246">250000</cx:pt>
          <cx:pt idx="19247">250000</cx:pt>
          <cx:pt idx="19248">250000</cx:pt>
          <cx:pt idx="19249">250000</cx:pt>
          <cx:pt idx="19250">250000</cx:pt>
          <cx:pt idx="19251">250000</cx:pt>
          <cx:pt idx="19252">250000</cx:pt>
          <cx:pt idx="19253">250000</cx:pt>
          <cx:pt idx="19254">250000</cx:pt>
          <cx:pt idx="19255">250000</cx:pt>
          <cx:pt idx="19256">250000</cx:pt>
          <cx:pt idx="19257">250000</cx:pt>
          <cx:pt idx="19258">250000</cx:pt>
          <cx:pt idx="19259">250000</cx:pt>
          <cx:pt idx="19260">250000</cx:pt>
          <cx:pt idx="19261">250000</cx:pt>
          <cx:pt idx="19262">250000</cx:pt>
          <cx:pt idx="19263">250000</cx:pt>
          <cx:pt idx="19264">250000</cx:pt>
          <cx:pt idx="19265">250000</cx:pt>
          <cx:pt idx="19266">250000</cx:pt>
          <cx:pt idx="19267">250000</cx:pt>
          <cx:pt idx="19268">250000</cx:pt>
          <cx:pt idx="19269">250000</cx:pt>
          <cx:pt idx="19270">250000</cx:pt>
          <cx:pt idx="19271">250000</cx:pt>
          <cx:pt idx="19272">250000</cx:pt>
          <cx:pt idx="19273">250000</cx:pt>
          <cx:pt idx="19274">250000</cx:pt>
          <cx:pt idx="19275">250000</cx:pt>
          <cx:pt idx="19276">250000</cx:pt>
          <cx:pt idx="19277">250000</cx:pt>
          <cx:pt idx="19278">250000</cx:pt>
          <cx:pt idx="19279">250000</cx:pt>
          <cx:pt idx="19280">250000</cx:pt>
          <cx:pt idx="19281">250000</cx:pt>
          <cx:pt idx="19282">250000</cx:pt>
          <cx:pt idx="19283">250000</cx:pt>
          <cx:pt idx="19284">250000</cx:pt>
          <cx:pt idx="19285">250000</cx:pt>
          <cx:pt idx="19286">250000</cx:pt>
          <cx:pt idx="19287">250000</cx:pt>
          <cx:pt idx="19288">250000</cx:pt>
          <cx:pt idx="19289">250000</cx:pt>
          <cx:pt idx="19290">250000</cx:pt>
          <cx:pt idx="19291">250000</cx:pt>
          <cx:pt idx="19292">250000</cx:pt>
          <cx:pt idx="19293">250000</cx:pt>
          <cx:pt idx="19294">250000</cx:pt>
          <cx:pt idx="19295">250000</cx:pt>
          <cx:pt idx="19296">250000</cx:pt>
          <cx:pt idx="19297">250000</cx:pt>
          <cx:pt idx="19298">250000</cx:pt>
          <cx:pt idx="19299">250000</cx:pt>
          <cx:pt idx="19300">250000</cx:pt>
          <cx:pt idx="19301">250000</cx:pt>
          <cx:pt idx="19302">250000</cx:pt>
          <cx:pt idx="19303">250000</cx:pt>
          <cx:pt idx="19304">250000</cx:pt>
          <cx:pt idx="19305">250000</cx:pt>
          <cx:pt idx="19306">250000</cx:pt>
          <cx:pt idx="19307">250000</cx:pt>
          <cx:pt idx="19308">250000</cx:pt>
          <cx:pt idx="19309">250000</cx:pt>
          <cx:pt idx="19310">249950</cx:pt>
          <cx:pt idx="19311">249950</cx:pt>
          <cx:pt idx="19312">249950</cx:pt>
          <cx:pt idx="19313">249950</cx:pt>
          <cx:pt idx="19314">249950</cx:pt>
          <cx:pt idx="19315">249950</cx:pt>
          <cx:pt idx="19316">249950</cx:pt>
          <cx:pt idx="19317">249950</cx:pt>
          <cx:pt idx="19318">249950</cx:pt>
          <cx:pt idx="19319">249950</cx:pt>
          <cx:pt idx="19320">249950</cx:pt>
          <cx:pt idx="19321">249950</cx:pt>
          <cx:pt idx="19322">249950</cx:pt>
          <cx:pt idx="19323">249900</cx:pt>
          <cx:pt idx="19324">249900</cx:pt>
          <cx:pt idx="19325">249900</cx:pt>
          <cx:pt idx="19326">249900</cx:pt>
          <cx:pt idx="19327">249900</cx:pt>
          <cx:pt idx="19328">249900</cx:pt>
          <cx:pt idx="19329">249900</cx:pt>
          <cx:pt idx="19330">249900</cx:pt>
          <cx:pt idx="19331">249900</cx:pt>
          <cx:pt idx="19332">249900</cx:pt>
          <cx:pt idx="19333">249900</cx:pt>
          <cx:pt idx="19334">249500</cx:pt>
          <cx:pt idx="19335">249500</cx:pt>
          <cx:pt idx="19336">249500</cx:pt>
          <cx:pt idx="19337">249500</cx:pt>
          <cx:pt idx="19338">249000</cx:pt>
          <cx:pt idx="19339">249000</cx:pt>
          <cx:pt idx="19340">249000</cx:pt>
          <cx:pt idx="19341">249000</cx:pt>
          <cx:pt idx="19342">249000</cx:pt>
          <cx:pt idx="19343">249000</cx:pt>
          <cx:pt idx="19344">249000</cx:pt>
          <cx:pt idx="19345">249000</cx:pt>
          <cx:pt idx="19346">249000</cx:pt>
          <cx:pt idx="19347">249000</cx:pt>
          <cx:pt idx="19348">249000</cx:pt>
          <cx:pt idx="19349">249000</cx:pt>
          <cx:pt idx="19350">249000</cx:pt>
          <cx:pt idx="19351">249000</cx:pt>
          <cx:pt idx="19352">249000</cx:pt>
          <cx:pt idx="19353">249000</cx:pt>
          <cx:pt idx="19354">249000</cx:pt>
          <cx:pt idx="19355">249000</cx:pt>
          <cx:pt idx="19356">249000</cx:pt>
          <cx:pt idx="19357">249000</cx:pt>
          <cx:pt idx="19358">249000</cx:pt>
          <cx:pt idx="19359">249000</cx:pt>
          <cx:pt idx="19360">249000</cx:pt>
          <cx:pt idx="19361">249000</cx:pt>
          <cx:pt idx="19362">249000</cx:pt>
          <cx:pt idx="19363">249000</cx:pt>
          <cx:pt idx="19364">248500</cx:pt>
          <cx:pt idx="19365">248500</cx:pt>
          <cx:pt idx="19366">248500</cx:pt>
          <cx:pt idx="19367">248500</cx:pt>
          <cx:pt idx="19368">248500</cx:pt>
          <cx:pt idx="19369">248500</cx:pt>
          <cx:pt idx="19370">248500</cx:pt>
          <cx:pt idx="19371">248000</cx:pt>
          <cx:pt idx="19372">248000</cx:pt>
          <cx:pt idx="19373">248000</cx:pt>
          <cx:pt idx="19374">248000</cx:pt>
          <cx:pt idx="19375">248000</cx:pt>
          <cx:pt idx="19376">248000</cx:pt>
          <cx:pt idx="19377">248000</cx:pt>
          <cx:pt idx="19378">248000</cx:pt>
          <cx:pt idx="19379">248000</cx:pt>
          <cx:pt idx="19380">248000</cx:pt>
          <cx:pt idx="19381">248000</cx:pt>
          <cx:pt idx="19382">248000</cx:pt>
          <cx:pt idx="19383">248000</cx:pt>
          <cx:pt idx="19384">248000</cx:pt>
          <cx:pt idx="19385">248000</cx:pt>
          <cx:pt idx="19386">248000</cx:pt>
          <cx:pt idx="19387">248000</cx:pt>
          <cx:pt idx="19388">248000</cx:pt>
          <cx:pt idx="19389">248000</cx:pt>
          <cx:pt idx="19390">248000</cx:pt>
          <cx:pt idx="19391">247800</cx:pt>
          <cx:pt idx="19392">247500</cx:pt>
          <cx:pt idx="19393">247500</cx:pt>
          <cx:pt idx="19394">247500</cx:pt>
          <cx:pt idx="19395">247500</cx:pt>
          <cx:pt idx="19396">247500</cx:pt>
          <cx:pt idx="19397">247500</cx:pt>
          <cx:pt idx="19398">247500</cx:pt>
          <cx:pt idx="19399">247500</cx:pt>
          <cx:pt idx="19400">247500</cx:pt>
          <cx:pt idx="19401">247500</cx:pt>
          <cx:pt idx="19402">247300</cx:pt>
          <cx:pt idx="19403">247200</cx:pt>
          <cx:pt idx="19404">247200</cx:pt>
          <cx:pt idx="19405">247200</cx:pt>
          <cx:pt idx="19406">247000</cx:pt>
          <cx:pt idx="19407">247000</cx:pt>
          <cx:pt idx="19408">247000</cx:pt>
          <cx:pt idx="19409">247000</cx:pt>
          <cx:pt idx="19410">247000</cx:pt>
          <cx:pt idx="19411">247000</cx:pt>
          <cx:pt idx="19412">247000</cx:pt>
          <cx:pt idx="19413">247000</cx:pt>
          <cx:pt idx="19414">246950</cx:pt>
          <cx:pt idx="19415">246950</cx:pt>
          <cx:pt idx="19416">246900</cx:pt>
          <cx:pt idx="19417">246700</cx:pt>
          <cx:pt idx="19418">246600</cx:pt>
          <cx:pt idx="19419">246500</cx:pt>
          <cx:pt idx="19420">246500</cx:pt>
          <cx:pt idx="19421">246500</cx:pt>
          <cx:pt idx="19422">246500</cx:pt>
          <cx:pt idx="19423">246500</cx:pt>
          <cx:pt idx="19424">246000</cx:pt>
          <cx:pt idx="19425">246000</cx:pt>
          <cx:pt idx="19426">246000</cx:pt>
          <cx:pt idx="19427">246000</cx:pt>
          <cx:pt idx="19428">246000</cx:pt>
          <cx:pt idx="19429">246000</cx:pt>
          <cx:pt idx="19430">246000</cx:pt>
          <cx:pt idx="19431">246000</cx:pt>
          <cx:pt idx="19432">246000</cx:pt>
          <cx:pt idx="19433">246000</cx:pt>
          <cx:pt idx="19434">246000</cx:pt>
          <cx:pt idx="19435">246000</cx:pt>
          <cx:pt idx="19436">246000</cx:pt>
          <cx:pt idx="19437">245990</cx:pt>
          <cx:pt idx="19438">245700</cx:pt>
          <cx:pt idx="19439">245560</cx:pt>
          <cx:pt idx="19440">245500</cx:pt>
          <cx:pt idx="19441">245500</cx:pt>
          <cx:pt idx="19442">245100</cx:pt>
          <cx:pt idx="19443">245000</cx:pt>
          <cx:pt idx="19444">245000</cx:pt>
          <cx:pt idx="19445">245000</cx:pt>
          <cx:pt idx="19446">245000</cx:pt>
          <cx:pt idx="19447">245000</cx:pt>
          <cx:pt idx="19448">245000</cx:pt>
          <cx:pt idx="19449">245000</cx:pt>
          <cx:pt idx="19450">245000</cx:pt>
          <cx:pt idx="19451">245000</cx:pt>
          <cx:pt idx="19452">245000</cx:pt>
          <cx:pt idx="19453">245000</cx:pt>
          <cx:pt idx="19454">245000</cx:pt>
          <cx:pt idx="19455">245000</cx:pt>
          <cx:pt idx="19456">245000</cx:pt>
          <cx:pt idx="19457">245000</cx:pt>
          <cx:pt idx="19458">245000</cx:pt>
          <cx:pt idx="19459">245000</cx:pt>
          <cx:pt idx="19460">245000</cx:pt>
          <cx:pt idx="19461">245000</cx:pt>
          <cx:pt idx="19462">245000</cx:pt>
          <cx:pt idx="19463">245000</cx:pt>
          <cx:pt idx="19464">245000</cx:pt>
          <cx:pt idx="19465">245000</cx:pt>
          <cx:pt idx="19466">245000</cx:pt>
          <cx:pt idx="19467">245000</cx:pt>
          <cx:pt idx="19468">245000</cx:pt>
          <cx:pt idx="19469">245000</cx:pt>
          <cx:pt idx="19470">245000</cx:pt>
          <cx:pt idx="19471">245000</cx:pt>
          <cx:pt idx="19472">245000</cx:pt>
          <cx:pt idx="19473">245000</cx:pt>
          <cx:pt idx="19474">245000</cx:pt>
          <cx:pt idx="19475">245000</cx:pt>
          <cx:pt idx="19476">245000</cx:pt>
          <cx:pt idx="19477">245000</cx:pt>
          <cx:pt idx="19478">245000</cx:pt>
          <cx:pt idx="19479">245000</cx:pt>
          <cx:pt idx="19480">245000</cx:pt>
          <cx:pt idx="19481">245000</cx:pt>
          <cx:pt idx="19482">245000</cx:pt>
          <cx:pt idx="19483">245000</cx:pt>
          <cx:pt idx="19484">245000</cx:pt>
          <cx:pt idx="19485">245000</cx:pt>
          <cx:pt idx="19486">245000</cx:pt>
          <cx:pt idx="19487">245000</cx:pt>
          <cx:pt idx="19488">245000</cx:pt>
          <cx:pt idx="19489">245000</cx:pt>
          <cx:pt idx="19490">245000</cx:pt>
          <cx:pt idx="19491">245000</cx:pt>
          <cx:pt idx="19492">245000</cx:pt>
          <cx:pt idx="19493">245000</cx:pt>
          <cx:pt idx="19494">245000</cx:pt>
          <cx:pt idx="19495">245000</cx:pt>
          <cx:pt idx="19496">245000</cx:pt>
          <cx:pt idx="19497">245000</cx:pt>
          <cx:pt idx="19498">245000</cx:pt>
          <cx:pt idx="19499">245000</cx:pt>
          <cx:pt idx="19500">245000</cx:pt>
          <cx:pt idx="19501">245000</cx:pt>
          <cx:pt idx="19502">245000</cx:pt>
          <cx:pt idx="19503">245000</cx:pt>
          <cx:pt idx="19504">245000</cx:pt>
          <cx:pt idx="19505">245000</cx:pt>
          <cx:pt idx="19506">245000</cx:pt>
          <cx:pt idx="19507">245000</cx:pt>
          <cx:pt idx="19508">245000</cx:pt>
          <cx:pt idx="19509">245000</cx:pt>
          <cx:pt idx="19510">245000</cx:pt>
          <cx:pt idx="19511">245000</cx:pt>
          <cx:pt idx="19512">245000</cx:pt>
          <cx:pt idx="19513">245000</cx:pt>
          <cx:pt idx="19514">245000</cx:pt>
          <cx:pt idx="19515">245000</cx:pt>
          <cx:pt idx="19516">245000</cx:pt>
          <cx:pt idx="19517">245000</cx:pt>
          <cx:pt idx="19518">245000</cx:pt>
          <cx:pt idx="19519">245000</cx:pt>
          <cx:pt idx="19520">245000</cx:pt>
          <cx:pt idx="19521">245000</cx:pt>
          <cx:pt idx="19522">245000</cx:pt>
          <cx:pt idx="19523">245000</cx:pt>
          <cx:pt idx="19524">245000</cx:pt>
          <cx:pt idx="19525">245000</cx:pt>
          <cx:pt idx="19526">245000</cx:pt>
          <cx:pt idx="19527">245000</cx:pt>
          <cx:pt idx="19528">245000</cx:pt>
          <cx:pt idx="19529">245000</cx:pt>
          <cx:pt idx="19530">245000</cx:pt>
          <cx:pt idx="19531">245000</cx:pt>
          <cx:pt idx="19532">244950</cx:pt>
          <cx:pt idx="19533">244900</cx:pt>
          <cx:pt idx="19534">244900</cx:pt>
          <cx:pt idx="19535">244615</cx:pt>
          <cx:pt idx="19536">244500</cx:pt>
          <cx:pt idx="19537">244500</cx:pt>
          <cx:pt idx="19538">244500</cx:pt>
          <cx:pt idx="19539">244000</cx:pt>
          <cx:pt idx="19540">244000</cx:pt>
          <cx:pt idx="19541">244000</cx:pt>
          <cx:pt idx="19542">244000</cx:pt>
          <cx:pt idx="19543">244000</cx:pt>
          <cx:pt idx="19544">244000</cx:pt>
          <cx:pt idx="19545">244000</cx:pt>
          <cx:pt idx="19546">244000</cx:pt>
          <cx:pt idx="19547">244000</cx:pt>
          <cx:pt idx="19548">244000</cx:pt>
          <cx:pt idx="19549">244000</cx:pt>
          <cx:pt idx="19550">244000</cx:pt>
          <cx:pt idx="19551">243950</cx:pt>
          <cx:pt idx="19552">243800</cx:pt>
          <cx:pt idx="19553">243500</cx:pt>
          <cx:pt idx="19554">243500</cx:pt>
          <cx:pt idx="19555">243500</cx:pt>
          <cx:pt idx="19556">243500</cx:pt>
          <cx:pt idx="19557">243500</cx:pt>
          <cx:pt idx="19558">243400</cx:pt>
          <cx:pt idx="19559">243000</cx:pt>
          <cx:pt idx="19560">243000</cx:pt>
          <cx:pt idx="19561">243000</cx:pt>
          <cx:pt idx="19562">243000</cx:pt>
          <cx:pt idx="19563">243000</cx:pt>
          <cx:pt idx="19564">243000</cx:pt>
          <cx:pt idx="19565">243000</cx:pt>
          <cx:pt idx="19566">243000</cx:pt>
          <cx:pt idx="19567">242550</cx:pt>
          <cx:pt idx="19568">242500</cx:pt>
          <cx:pt idx="19569">242500</cx:pt>
          <cx:pt idx="19570">242500</cx:pt>
          <cx:pt idx="19571">242500</cx:pt>
          <cx:pt idx="19572">242500</cx:pt>
          <cx:pt idx="19573">242150</cx:pt>
          <cx:pt idx="19574">242050</cx:pt>
          <cx:pt idx="19575">242025</cx:pt>
          <cx:pt idx="19576">242000</cx:pt>
          <cx:pt idx="19577">242000</cx:pt>
          <cx:pt idx="19578">242000</cx:pt>
          <cx:pt idx="19579">242000</cx:pt>
          <cx:pt idx="19580">242000</cx:pt>
          <cx:pt idx="19581">242000</cx:pt>
          <cx:pt idx="19582">242000</cx:pt>
          <cx:pt idx="19583">242000</cx:pt>
          <cx:pt idx="19584">242000</cx:pt>
          <cx:pt idx="19585">242000</cx:pt>
          <cx:pt idx="19586">242000</cx:pt>
          <cx:pt idx="19587">242000</cx:pt>
          <cx:pt idx="19588">242000</cx:pt>
          <cx:pt idx="19589">241500</cx:pt>
          <cx:pt idx="19590">241500</cx:pt>
          <cx:pt idx="19591">241500</cx:pt>
          <cx:pt idx="19592">241450</cx:pt>
          <cx:pt idx="19593">241400</cx:pt>
          <cx:pt idx="19594">241250</cx:pt>
          <cx:pt idx="19595">241000</cx:pt>
          <cx:pt idx="19596">241000</cx:pt>
          <cx:pt idx="19597">241000</cx:pt>
          <cx:pt idx="19598">241000</cx:pt>
          <cx:pt idx="19599">241000</cx:pt>
          <cx:pt idx="19600">241000</cx:pt>
          <cx:pt idx="19601">241000</cx:pt>
          <cx:pt idx="19602">241000</cx:pt>
          <cx:pt idx="19603">241000</cx:pt>
          <cx:pt idx="19604">241000</cx:pt>
          <cx:pt idx="19605">240500</cx:pt>
          <cx:pt idx="19606">240500</cx:pt>
          <cx:pt idx="19607">240415</cx:pt>
          <cx:pt idx="19608">240000</cx:pt>
          <cx:pt idx="19609">240000</cx:pt>
          <cx:pt idx="19610">240000</cx:pt>
          <cx:pt idx="19611">240000</cx:pt>
          <cx:pt idx="19612">240000</cx:pt>
          <cx:pt idx="19613">240000</cx:pt>
          <cx:pt idx="19614">240000</cx:pt>
          <cx:pt idx="19615">240000</cx:pt>
          <cx:pt idx="19616">240000</cx:pt>
          <cx:pt idx="19617">240000</cx:pt>
          <cx:pt idx="19618">240000</cx:pt>
          <cx:pt idx="19619">240000</cx:pt>
          <cx:pt idx="19620">240000</cx:pt>
          <cx:pt idx="19621">240000</cx:pt>
          <cx:pt idx="19622">240000</cx:pt>
          <cx:pt idx="19623">240000</cx:pt>
          <cx:pt idx="19624">240000</cx:pt>
          <cx:pt idx="19625">240000</cx:pt>
          <cx:pt idx="19626">240000</cx:pt>
          <cx:pt idx="19627">240000</cx:pt>
          <cx:pt idx="19628">240000</cx:pt>
          <cx:pt idx="19629">240000</cx:pt>
          <cx:pt idx="19630">240000</cx:pt>
          <cx:pt idx="19631">240000</cx:pt>
          <cx:pt idx="19632">240000</cx:pt>
          <cx:pt idx="19633">240000</cx:pt>
          <cx:pt idx="19634">240000</cx:pt>
          <cx:pt idx="19635">240000</cx:pt>
          <cx:pt idx="19636">240000</cx:pt>
          <cx:pt idx="19637">240000</cx:pt>
          <cx:pt idx="19638">240000</cx:pt>
          <cx:pt idx="19639">240000</cx:pt>
          <cx:pt idx="19640">240000</cx:pt>
          <cx:pt idx="19641">240000</cx:pt>
          <cx:pt idx="19642">240000</cx:pt>
          <cx:pt idx="19643">240000</cx:pt>
          <cx:pt idx="19644">240000</cx:pt>
          <cx:pt idx="19645">240000</cx:pt>
          <cx:pt idx="19646">240000</cx:pt>
          <cx:pt idx="19647">240000</cx:pt>
          <cx:pt idx="19648">240000</cx:pt>
          <cx:pt idx="19649">240000</cx:pt>
          <cx:pt idx="19650">240000</cx:pt>
          <cx:pt idx="19651">240000</cx:pt>
          <cx:pt idx="19652">240000</cx:pt>
          <cx:pt idx="19653">240000</cx:pt>
          <cx:pt idx="19654">240000</cx:pt>
          <cx:pt idx="19655">240000</cx:pt>
          <cx:pt idx="19656">240000</cx:pt>
          <cx:pt idx="19657">240000</cx:pt>
          <cx:pt idx="19658">240000</cx:pt>
          <cx:pt idx="19659">240000</cx:pt>
          <cx:pt idx="19660">240000</cx:pt>
          <cx:pt idx="19661">240000</cx:pt>
          <cx:pt idx="19662">240000</cx:pt>
          <cx:pt idx="19663">240000</cx:pt>
          <cx:pt idx="19664">240000</cx:pt>
          <cx:pt idx="19665">240000</cx:pt>
          <cx:pt idx="19666">240000</cx:pt>
          <cx:pt idx="19667">240000</cx:pt>
          <cx:pt idx="19668">240000</cx:pt>
          <cx:pt idx="19669">240000</cx:pt>
          <cx:pt idx="19670">240000</cx:pt>
          <cx:pt idx="19671">240000</cx:pt>
          <cx:pt idx="19672">240000</cx:pt>
          <cx:pt idx="19673">240000</cx:pt>
          <cx:pt idx="19674">240000</cx:pt>
          <cx:pt idx="19675">240000</cx:pt>
          <cx:pt idx="19676">240000</cx:pt>
          <cx:pt idx="19677">240000</cx:pt>
          <cx:pt idx="19678">240000</cx:pt>
          <cx:pt idx="19679">240000</cx:pt>
          <cx:pt idx="19680">240000</cx:pt>
          <cx:pt idx="19681">240000</cx:pt>
          <cx:pt idx="19682">240000</cx:pt>
          <cx:pt idx="19683">240000</cx:pt>
          <cx:pt idx="19684">240000</cx:pt>
          <cx:pt idx="19685">240000</cx:pt>
          <cx:pt idx="19686">240000</cx:pt>
          <cx:pt idx="19687">240000</cx:pt>
          <cx:pt idx="19688">239999</cx:pt>
          <cx:pt idx="19689">239975</cx:pt>
          <cx:pt idx="19690">239950</cx:pt>
          <cx:pt idx="19691">239950</cx:pt>
          <cx:pt idx="19692">239950</cx:pt>
          <cx:pt idx="19693">239950</cx:pt>
          <cx:pt idx="19694">239950</cx:pt>
          <cx:pt idx="19695">239950</cx:pt>
          <cx:pt idx="19696">239950</cx:pt>
          <cx:pt idx="19697">239950</cx:pt>
          <cx:pt idx="19698">239950</cx:pt>
          <cx:pt idx="19699">239950</cx:pt>
          <cx:pt idx="19700">239950</cx:pt>
          <cx:pt idx="19701">239950</cx:pt>
          <cx:pt idx="19702">239900</cx:pt>
          <cx:pt idx="19703">239900</cx:pt>
          <cx:pt idx="19704">239900</cx:pt>
          <cx:pt idx="19705">239900</cx:pt>
          <cx:pt idx="19706">239900</cx:pt>
          <cx:pt idx="19707">239900</cx:pt>
          <cx:pt idx="19708">239800</cx:pt>
          <cx:pt idx="19709">239300</cx:pt>
          <cx:pt idx="19710">239000</cx:pt>
          <cx:pt idx="19711">239000</cx:pt>
          <cx:pt idx="19712">239000</cx:pt>
          <cx:pt idx="19713">239000</cx:pt>
          <cx:pt idx="19714">239000</cx:pt>
          <cx:pt idx="19715">239000</cx:pt>
          <cx:pt idx="19716">239000</cx:pt>
          <cx:pt idx="19717">239000</cx:pt>
          <cx:pt idx="19718">239000</cx:pt>
          <cx:pt idx="19719">239000</cx:pt>
          <cx:pt idx="19720">239000</cx:pt>
          <cx:pt idx="19721">239000</cx:pt>
          <cx:pt idx="19722">239000</cx:pt>
          <cx:pt idx="19723">239000</cx:pt>
          <cx:pt idx="19724">239000</cx:pt>
          <cx:pt idx="19725">239000</cx:pt>
          <cx:pt idx="19726">239000</cx:pt>
          <cx:pt idx="19727">238950</cx:pt>
          <cx:pt idx="19728">238950</cx:pt>
          <cx:pt idx="19729">238000</cx:pt>
          <cx:pt idx="19730">238000</cx:pt>
          <cx:pt idx="19731">238000</cx:pt>
          <cx:pt idx="19732">238000</cx:pt>
          <cx:pt idx="19733">238000</cx:pt>
          <cx:pt idx="19734">238000</cx:pt>
          <cx:pt idx="19735">238000</cx:pt>
          <cx:pt idx="19736">238000</cx:pt>
          <cx:pt idx="19737">238000</cx:pt>
          <cx:pt idx="19738">238000</cx:pt>
          <cx:pt idx="19739">238000</cx:pt>
          <cx:pt idx="19740">238000</cx:pt>
          <cx:pt idx="19741">238000</cx:pt>
          <cx:pt idx="19742">238000</cx:pt>
          <cx:pt idx="19743">237950</cx:pt>
          <cx:pt idx="19744">237950</cx:pt>
          <cx:pt idx="19745">237600</cx:pt>
          <cx:pt idx="19746">237502</cx:pt>
          <cx:pt idx="19747">237500</cx:pt>
          <cx:pt idx="19748">237500</cx:pt>
          <cx:pt idx="19749">237500</cx:pt>
          <cx:pt idx="19750">237500</cx:pt>
          <cx:pt idx="19751">237200</cx:pt>
          <cx:pt idx="19752">237100</cx:pt>
          <cx:pt idx="19753">237000</cx:pt>
          <cx:pt idx="19754">237000</cx:pt>
          <cx:pt idx="19755">237000</cx:pt>
          <cx:pt idx="19756">237000</cx:pt>
          <cx:pt idx="19757">237000</cx:pt>
          <cx:pt idx="19758">237000</cx:pt>
          <cx:pt idx="19759">237000</cx:pt>
          <cx:pt idx="19760">237000</cx:pt>
          <cx:pt idx="19761">237000</cx:pt>
          <cx:pt idx="19762">237000</cx:pt>
          <cx:pt idx="19763">237000</cx:pt>
          <cx:pt idx="19764">237000</cx:pt>
          <cx:pt idx="19765">236775</cx:pt>
          <cx:pt idx="19766">236500</cx:pt>
          <cx:pt idx="19767">236000</cx:pt>
          <cx:pt idx="19768">236000</cx:pt>
          <cx:pt idx="19769">236000</cx:pt>
          <cx:pt idx="19770">236000</cx:pt>
          <cx:pt idx="19771">236000</cx:pt>
          <cx:pt idx="19772">236000</cx:pt>
          <cx:pt idx="19773">236000</cx:pt>
          <cx:pt idx="19774">236000</cx:pt>
          <cx:pt idx="19775">235867</cx:pt>
          <cx:pt idx="19776">235750</cx:pt>
          <cx:pt idx="19777">235500</cx:pt>
          <cx:pt idx="19778">235500</cx:pt>
          <cx:pt idx="19779">235245</cx:pt>
          <cx:pt idx="19780">235000</cx:pt>
          <cx:pt idx="19781">235000</cx:pt>
          <cx:pt idx="19782">235000</cx:pt>
          <cx:pt idx="19783">235000</cx:pt>
          <cx:pt idx="19784">235000</cx:pt>
          <cx:pt idx="19785">235000</cx:pt>
          <cx:pt idx="19786">235000</cx:pt>
          <cx:pt idx="19787">235000</cx:pt>
          <cx:pt idx="19788">235000</cx:pt>
          <cx:pt idx="19789">235000</cx:pt>
          <cx:pt idx="19790">235000</cx:pt>
          <cx:pt idx="19791">235000</cx:pt>
          <cx:pt idx="19792">235000</cx:pt>
          <cx:pt idx="19793">235000</cx:pt>
          <cx:pt idx="19794">235000</cx:pt>
          <cx:pt idx="19795">235000</cx:pt>
          <cx:pt idx="19796">235000</cx:pt>
          <cx:pt idx="19797">235000</cx:pt>
          <cx:pt idx="19798">235000</cx:pt>
          <cx:pt idx="19799">235000</cx:pt>
          <cx:pt idx="19800">235000</cx:pt>
          <cx:pt idx="19801">235000</cx:pt>
          <cx:pt idx="19802">235000</cx:pt>
          <cx:pt idx="19803">235000</cx:pt>
          <cx:pt idx="19804">235000</cx:pt>
          <cx:pt idx="19805">235000</cx:pt>
          <cx:pt idx="19806">235000</cx:pt>
          <cx:pt idx="19807">235000</cx:pt>
          <cx:pt idx="19808">235000</cx:pt>
          <cx:pt idx="19809">235000</cx:pt>
          <cx:pt idx="19810">235000</cx:pt>
          <cx:pt idx="19811">235000</cx:pt>
          <cx:pt idx="19812">235000</cx:pt>
          <cx:pt idx="19813">235000</cx:pt>
          <cx:pt idx="19814">235000</cx:pt>
          <cx:pt idx="19815">235000</cx:pt>
          <cx:pt idx="19816">235000</cx:pt>
          <cx:pt idx="19817">235000</cx:pt>
          <cx:pt idx="19818">235000</cx:pt>
          <cx:pt idx="19819">235000</cx:pt>
          <cx:pt idx="19820">235000</cx:pt>
          <cx:pt idx="19821">235000</cx:pt>
          <cx:pt idx="19822">235000</cx:pt>
          <cx:pt idx="19823">235000</cx:pt>
          <cx:pt idx="19824">235000</cx:pt>
          <cx:pt idx="19825">235000</cx:pt>
          <cx:pt idx="19826">235000</cx:pt>
          <cx:pt idx="19827">235000</cx:pt>
          <cx:pt idx="19828">235000</cx:pt>
          <cx:pt idx="19829">235000</cx:pt>
          <cx:pt idx="19830">235000</cx:pt>
          <cx:pt idx="19831">235000</cx:pt>
          <cx:pt idx="19832">235000</cx:pt>
          <cx:pt idx="19833">235000</cx:pt>
          <cx:pt idx="19834">235000</cx:pt>
          <cx:pt idx="19835">235000</cx:pt>
          <cx:pt idx="19836">235000</cx:pt>
          <cx:pt idx="19837">235000</cx:pt>
          <cx:pt idx="19838">235000</cx:pt>
          <cx:pt idx="19839">235000</cx:pt>
          <cx:pt idx="19840">235000</cx:pt>
          <cx:pt idx="19841">235000</cx:pt>
          <cx:pt idx="19842">235000</cx:pt>
          <cx:pt idx="19843">235000</cx:pt>
          <cx:pt idx="19844">235000</cx:pt>
          <cx:pt idx="19845">235000</cx:pt>
          <cx:pt idx="19846">235000</cx:pt>
          <cx:pt idx="19847">235000</cx:pt>
          <cx:pt idx="19848">235000</cx:pt>
          <cx:pt idx="19849">235000</cx:pt>
          <cx:pt idx="19850">235000</cx:pt>
          <cx:pt idx="19851">235000</cx:pt>
          <cx:pt idx="19852">235000</cx:pt>
          <cx:pt idx="19853">235000</cx:pt>
          <cx:pt idx="19854">235000</cx:pt>
          <cx:pt idx="19855">235000</cx:pt>
          <cx:pt idx="19856">235000</cx:pt>
          <cx:pt idx="19857">235000</cx:pt>
          <cx:pt idx="19858">235000</cx:pt>
          <cx:pt idx="19859">235000</cx:pt>
          <cx:pt idx="19860">235000</cx:pt>
          <cx:pt idx="19861">234999</cx:pt>
          <cx:pt idx="19862">234975</cx:pt>
          <cx:pt idx="19863">234950</cx:pt>
          <cx:pt idx="19864">234950</cx:pt>
          <cx:pt idx="19865">234950</cx:pt>
          <cx:pt idx="19866">234950</cx:pt>
          <cx:pt idx="19867">234950</cx:pt>
          <cx:pt idx="19868">234900</cx:pt>
          <cx:pt idx="19869">234550</cx:pt>
          <cx:pt idx="19870">234500</cx:pt>
          <cx:pt idx="19871">234500</cx:pt>
          <cx:pt idx="19872">234300</cx:pt>
          <cx:pt idx="19873">234000</cx:pt>
          <cx:pt idx="19874">234000</cx:pt>
          <cx:pt idx="19875">234000</cx:pt>
          <cx:pt idx="19876">234000</cx:pt>
          <cx:pt idx="19877">234000</cx:pt>
          <cx:pt idx="19878">234000</cx:pt>
          <cx:pt idx="19879">234000</cx:pt>
          <cx:pt idx="19880">234000</cx:pt>
          <cx:pt idx="19881">234000</cx:pt>
          <cx:pt idx="19882">234000</cx:pt>
          <cx:pt idx="19883">234000</cx:pt>
          <cx:pt idx="19884">234000</cx:pt>
          <cx:pt idx="19885">234000</cx:pt>
          <cx:pt idx="19886">234000</cx:pt>
          <cx:pt idx="19887">234000</cx:pt>
          <cx:pt idx="19888">234000</cx:pt>
          <cx:pt idx="19889">234000</cx:pt>
          <cx:pt idx="19890">234000</cx:pt>
          <cx:pt idx="19891">234000</cx:pt>
          <cx:pt idx="19892">233703</cx:pt>
          <cx:pt idx="19893">233500</cx:pt>
          <cx:pt idx="19894">233500</cx:pt>
          <cx:pt idx="19895">233000</cx:pt>
          <cx:pt idx="19896">233000</cx:pt>
          <cx:pt idx="19897">233000</cx:pt>
          <cx:pt idx="19898">233000</cx:pt>
          <cx:pt idx="19899">233000</cx:pt>
          <cx:pt idx="19900">233000</cx:pt>
          <cx:pt idx="19901">233000</cx:pt>
          <cx:pt idx="19902">233000</cx:pt>
          <cx:pt idx="19903">233000</cx:pt>
          <cx:pt idx="19904">232900</cx:pt>
          <cx:pt idx="19905">232603</cx:pt>
          <cx:pt idx="19906">232500</cx:pt>
          <cx:pt idx="19907">232500</cx:pt>
          <cx:pt idx="19908">232500</cx:pt>
          <cx:pt idx="19909">232000</cx:pt>
          <cx:pt idx="19910">232000</cx:pt>
          <cx:pt idx="19911">232000</cx:pt>
          <cx:pt idx="19912">232000</cx:pt>
          <cx:pt idx="19913">232000</cx:pt>
          <cx:pt idx="19914">232000</cx:pt>
          <cx:pt idx="19915">232000</cx:pt>
          <cx:pt idx="19916">232000</cx:pt>
          <cx:pt idx="19917">232000</cx:pt>
          <cx:pt idx="19918">232000</cx:pt>
          <cx:pt idx="19919">232000</cx:pt>
          <cx:pt idx="19920">231750</cx:pt>
          <cx:pt idx="19921">231500</cx:pt>
          <cx:pt idx="19922">231500</cx:pt>
          <cx:pt idx="19923">231500</cx:pt>
          <cx:pt idx="19924">231500</cx:pt>
          <cx:pt idx="19925">231200</cx:pt>
          <cx:pt idx="19926">231000</cx:pt>
          <cx:pt idx="19927">231000</cx:pt>
          <cx:pt idx="19928">231000</cx:pt>
          <cx:pt idx="19929">231000</cx:pt>
          <cx:pt idx="19930">231000</cx:pt>
          <cx:pt idx="19931">230950</cx:pt>
          <cx:pt idx="19932">230500</cx:pt>
          <cx:pt idx="19933">230500</cx:pt>
          <cx:pt idx="19934">230005</cx:pt>
          <cx:pt idx="19935">230000</cx:pt>
          <cx:pt idx="19936">230000</cx:pt>
          <cx:pt idx="19937">230000</cx:pt>
          <cx:pt idx="19938">230000</cx:pt>
          <cx:pt idx="19939">230000</cx:pt>
          <cx:pt idx="19940">230000</cx:pt>
          <cx:pt idx="19941">230000</cx:pt>
          <cx:pt idx="19942">230000</cx:pt>
          <cx:pt idx="19943">230000</cx:pt>
          <cx:pt idx="19944">230000</cx:pt>
          <cx:pt idx="19945">230000</cx:pt>
          <cx:pt idx="19946">230000</cx:pt>
          <cx:pt idx="19947">230000</cx:pt>
          <cx:pt idx="19948">230000</cx:pt>
          <cx:pt idx="19949">230000</cx:pt>
          <cx:pt idx="19950">230000</cx:pt>
          <cx:pt idx="19951">230000</cx:pt>
          <cx:pt idx="19952">230000</cx:pt>
          <cx:pt idx="19953">230000</cx:pt>
          <cx:pt idx="19954">230000</cx:pt>
          <cx:pt idx="19955">230000</cx:pt>
          <cx:pt idx="19956">230000</cx:pt>
          <cx:pt idx="19957">230000</cx:pt>
          <cx:pt idx="19958">230000</cx:pt>
          <cx:pt idx="19959">230000</cx:pt>
          <cx:pt idx="19960">230000</cx:pt>
          <cx:pt idx="19961">230000</cx:pt>
          <cx:pt idx="19962">230000</cx:pt>
          <cx:pt idx="19963">230000</cx:pt>
          <cx:pt idx="19964">230000</cx:pt>
          <cx:pt idx="19965">230000</cx:pt>
          <cx:pt idx="19966">230000</cx:pt>
          <cx:pt idx="19967">230000</cx:pt>
          <cx:pt idx="19968">230000</cx:pt>
          <cx:pt idx="19969">230000</cx:pt>
          <cx:pt idx="19970">230000</cx:pt>
          <cx:pt idx="19971">230000</cx:pt>
          <cx:pt idx="19972">230000</cx:pt>
          <cx:pt idx="19973">230000</cx:pt>
          <cx:pt idx="19974">230000</cx:pt>
          <cx:pt idx="19975">230000</cx:pt>
          <cx:pt idx="19976">230000</cx:pt>
          <cx:pt idx="19977">230000</cx:pt>
          <cx:pt idx="19978">230000</cx:pt>
          <cx:pt idx="19979">230000</cx:pt>
          <cx:pt idx="19980">230000</cx:pt>
          <cx:pt idx="19981">230000</cx:pt>
          <cx:pt idx="19982">230000</cx:pt>
          <cx:pt idx="19983">230000</cx:pt>
          <cx:pt idx="19984">230000</cx:pt>
          <cx:pt idx="19985">230000</cx:pt>
          <cx:pt idx="19986">230000</cx:pt>
          <cx:pt idx="19987">230000</cx:pt>
          <cx:pt idx="19988">230000</cx:pt>
          <cx:pt idx="19989">230000</cx:pt>
          <cx:pt idx="19990">230000</cx:pt>
          <cx:pt idx="19991">230000</cx:pt>
          <cx:pt idx="19992">230000</cx:pt>
          <cx:pt idx="19993">230000</cx:pt>
          <cx:pt idx="19994">230000</cx:pt>
          <cx:pt idx="19995">230000</cx:pt>
          <cx:pt idx="19996">230000</cx:pt>
          <cx:pt idx="19997">230000</cx:pt>
          <cx:pt idx="19998">230000</cx:pt>
          <cx:pt idx="19999">230000</cx:pt>
          <cx:pt idx="20000">230000</cx:pt>
          <cx:pt idx="20001">230000</cx:pt>
          <cx:pt idx="20002">230000</cx:pt>
          <cx:pt idx="20003">230000</cx:pt>
          <cx:pt idx="20004">230000</cx:pt>
          <cx:pt idx="20005">230000</cx:pt>
          <cx:pt idx="20006">230000</cx:pt>
          <cx:pt idx="20007">230000</cx:pt>
          <cx:pt idx="20008">230000</cx:pt>
          <cx:pt idx="20009">230000</cx:pt>
          <cx:pt idx="20010">230000</cx:pt>
          <cx:pt idx="20011">230000</cx:pt>
          <cx:pt idx="20012">230000</cx:pt>
          <cx:pt idx="20013">230000</cx:pt>
          <cx:pt idx="20014">230000</cx:pt>
          <cx:pt idx="20015">230000</cx:pt>
          <cx:pt idx="20016">230000</cx:pt>
          <cx:pt idx="20017">230000</cx:pt>
          <cx:pt idx="20018">230000</cx:pt>
          <cx:pt idx="20019">230000</cx:pt>
          <cx:pt idx="20020">229999</cx:pt>
          <cx:pt idx="20021">229999</cx:pt>
          <cx:pt idx="20022">229950</cx:pt>
          <cx:pt idx="20023">229950</cx:pt>
          <cx:pt idx="20024">229950</cx:pt>
          <cx:pt idx="20025">229950</cx:pt>
          <cx:pt idx="20026">229950</cx:pt>
          <cx:pt idx="20027">229950</cx:pt>
          <cx:pt idx="20028">229950</cx:pt>
          <cx:pt idx="20029">229950</cx:pt>
          <cx:pt idx="20030">229950</cx:pt>
          <cx:pt idx="20031">229950</cx:pt>
          <cx:pt idx="20032">229950</cx:pt>
          <cx:pt idx="20033">229900</cx:pt>
          <cx:pt idx="20034">229900</cx:pt>
          <cx:pt idx="20035">229900</cx:pt>
          <cx:pt idx="20036">229900</cx:pt>
          <cx:pt idx="20037">229800</cx:pt>
          <cx:pt idx="20038">229500</cx:pt>
          <cx:pt idx="20039">229500</cx:pt>
          <cx:pt idx="20040">229500</cx:pt>
          <cx:pt idx="20041">229500</cx:pt>
          <cx:pt idx="20042">229500</cx:pt>
          <cx:pt idx="20043">229500</cx:pt>
          <cx:pt idx="20044">229050</cx:pt>
          <cx:pt idx="20045">229000</cx:pt>
          <cx:pt idx="20046">229000</cx:pt>
          <cx:pt idx="20047">229000</cx:pt>
          <cx:pt idx="20048">229000</cx:pt>
          <cx:pt idx="20049">229000</cx:pt>
          <cx:pt idx="20050">229000</cx:pt>
          <cx:pt idx="20051">229000</cx:pt>
          <cx:pt idx="20052">229000</cx:pt>
          <cx:pt idx="20053">229000</cx:pt>
          <cx:pt idx="20054">229000</cx:pt>
          <cx:pt idx="20055">229000</cx:pt>
          <cx:pt idx="20056">229000</cx:pt>
          <cx:pt idx="20057">229000</cx:pt>
          <cx:pt idx="20058">229000</cx:pt>
          <cx:pt idx="20059">229000</cx:pt>
          <cx:pt idx="20060">229000</cx:pt>
          <cx:pt idx="20061">228950</cx:pt>
          <cx:pt idx="20062">228950</cx:pt>
          <cx:pt idx="20063">228950</cx:pt>
          <cx:pt idx="20064">228900</cx:pt>
          <cx:pt idx="20065">228800</cx:pt>
          <cx:pt idx="20066">228500</cx:pt>
          <cx:pt idx="20067">228000</cx:pt>
          <cx:pt idx="20068">228000</cx:pt>
          <cx:pt idx="20069">228000</cx:pt>
          <cx:pt idx="20070">228000</cx:pt>
          <cx:pt idx="20071">228000</cx:pt>
          <cx:pt idx="20072">228000</cx:pt>
          <cx:pt idx="20073">227950</cx:pt>
          <cx:pt idx="20074">227950</cx:pt>
          <cx:pt idx="20075">227500</cx:pt>
          <cx:pt idx="20076">227500</cx:pt>
          <cx:pt idx="20077">227490</cx:pt>
          <cx:pt idx="20078">227450</cx:pt>
          <cx:pt idx="20079">227064</cx:pt>
          <cx:pt idx="20080">227000</cx:pt>
          <cx:pt idx="20081">227000</cx:pt>
          <cx:pt idx="20082">227000</cx:pt>
          <cx:pt idx="20083">227000</cx:pt>
          <cx:pt idx="20084">227000</cx:pt>
          <cx:pt idx="20085">227000</cx:pt>
          <cx:pt idx="20086">227000</cx:pt>
          <cx:pt idx="20087">227000</cx:pt>
          <cx:pt idx="20088">227000</cx:pt>
          <cx:pt idx="20089">227000</cx:pt>
          <cx:pt idx="20090">227000</cx:pt>
          <cx:pt idx="20091">226950</cx:pt>
          <cx:pt idx="20092">226800</cx:pt>
          <cx:pt idx="20093">226750</cx:pt>
          <cx:pt idx="20094">226740</cx:pt>
          <cx:pt idx="20095">226550</cx:pt>
          <cx:pt idx="20096">226500</cx:pt>
          <cx:pt idx="20097">226500</cx:pt>
          <cx:pt idx="20098">226500</cx:pt>
          <cx:pt idx="20099">226450</cx:pt>
          <cx:pt idx="20100">226000</cx:pt>
          <cx:pt idx="20101">226000</cx:pt>
          <cx:pt idx="20102">226000</cx:pt>
          <cx:pt idx="20103">226000</cx:pt>
          <cx:pt idx="20104">226000</cx:pt>
          <cx:pt idx="20105">226000</cx:pt>
          <cx:pt idx="20106">225900</cx:pt>
          <cx:pt idx="20107">225800</cx:pt>
          <cx:pt idx="20108">225500</cx:pt>
          <cx:pt idx="20109">225500</cx:pt>
          <cx:pt idx="20110">225500</cx:pt>
          <cx:pt idx="20111">225205</cx:pt>
          <cx:pt idx="20112">225000</cx:pt>
          <cx:pt idx="20113">225000</cx:pt>
          <cx:pt idx="20114">225000</cx:pt>
          <cx:pt idx="20115">225000</cx:pt>
          <cx:pt idx="20116">225000</cx:pt>
          <cx:pt idx="20117">225000</cx:pt>
          <cx:pt idx="20118">225000</cx:pt>
          <cx:pt idx="20119">225000</cx:pt>
          <cx:pt idx="20120">225000</cx:pt>
          <cx:pt idx="20121">225000</cx:pt>
          <cx:pt idx="20122">225000</cx:pt>
          <cx:pt idx="20123">225000</cx:pt>
          <cx:pt idx="20124">225000</cx:pt>
          <cx:pt idx="20125">225000</cx:pt>
          <cx:pt idx="20126">225000</cx:pt>
          <cx:pt idx="20127">225000</cx:pt>
          <cx:pt idx="20128">225000</cx:pt>
          <cx:pt idx="20129">225000</cx:pt>
          <cx:pt idx="20130">225000</cx:pt>
          <cx:pt idx="20131">225000</cx:pt>
          <cx:pt idx="20132">225000</cx:pt>
          <cx:pt idx="20133">225000</cx:pt>
          <cx:pt idx="20134">225000</cx:pt>
          <cx:pt idx="20135">225000</cx:pt>
          <cx:pt idx="20136">225000</cx:pt>
          <cx:pt idx="20137">225000</cx:pt>
          <cx:pt idx="20138">225000</cx:pt>
          <cx:pt idx="20139">225000</cx:pt>
          <cx:pt idx="20140">225000</cx:pt>
          <cx:pt idx="20141">225000</cx:pt>
          <cx:pt idx="20142">225000</cx:pt>
          <cx:pt idx="20143">225000</cx:pt>
          <cx:pt idx="20144">225000</cx:pt>
          <cx:pt idx="20145">225000</cx:pt>
          <cx:pt idx="20146">225000</cx:pt>
          <cx:pt idx="20147">225000</cx:pt>
          <cx:pt idx="20148">225000</cx:pt>
          <cx:pt idx="20149">225000</cx:pt>
          <cx:pt idx="20150">225000</cx:pt>
          <cx:pt idx="20151">225000</cx:pt>
          <cx:pt idx="20152">225000</cx:pt>
          <cx:pt idx="20153">225000</cx:pt>
          <cx:pt idx="20154">225000</cx:pt>
          <cx:pt idx="20155">225000</cx:pt>
          <cx:pt idx="20156">225000</cx:pt>
          <cx:pt idx="20157">225000</cx:pt>
          <cx:pt idx="20158">225000</cx:pt>
          <cx:pt idx="20159">225000</cx:pt>
          <cx:pt idx="20160">225000</cx:pt>
          <cx:pt idx="20161">225000</cx:pt>
          <cx:pt idx="20162">225000</cx:pt>
          <cx:pt idx="20163">225000</cx:pt>
          <cx:pt idx="20164">225000</cx:pt>
          <cx:pt idx="20165">225000</cx:pt>
          <cx:pt idx="20166">225000</cx:pt>
          <cx:pt idx="20167">225000</cx:pt>
          <cx:pt idx="20168">225000</cx:pt>
          <cx:pt idx="20169">225000</cx:pt>
          <cx:pt idx="20170">225000</cx:pt>
          <cx:pt idx="20171">225000</cx:pt>
          <cx:pt idx="20172">225000</cx:pt>
          <cx:pt idx="20173">225000</cx:pt>
          <cx:pt idx="20174">225000</cx:pt>
          <cx:pt idx="20175">225000</cx:pt>
          <cx:pt idx="20176">225000</cx:pt>
          <cx:pt idx="20177">225000</cx:pt>
          <cx:pt idx="20178">225000</cx:pt>
          <cx:pt idx="20179">225000</cx:pt>
          <cx:pt idx="20180">225000</cx:pt>
          <cx:pt idx="20181">225000</cx:pt>
          <cx:pt idx="20182">225000</cx:pt>
          <cx:pt idx="20183">225000</cx:pt>
          <cx:pt idx="20184">225000</cx:pt>
          <cx:pt idx="20185">225000</cx:pt>
          <cx:pt idx="20186">225000</cx:pt>
          <cx:pt idx="20187">225000</cx:pt>
          <cx:pt idx="20188">225000</cx:pt>
          <cx:pt idx="20189">225000</cx:pt>
          <cx:pt idx="20190">225000</cx:pt>
          <cx:pt idx="20191">225000</cx:pt>
          <cx:pt idx="20192">225000</cx:pt>
          <cx:pt idx="20193">225000</cx:pt>
          <cx:pt idx="20194">225000</cx:pt>
          <cx:pt idx="20195">224975</cx:pt>
          <cx:pt idx="20196">224950</cx:pt>
          <cx:pt idx="20197">224950</cx:pt>
          <cx:pt idx="20198">224500</cx:pt>
          <cx:pt idx="20199">224500</cx:pt>
          <cx:pt idx="20200">224400</cx:pt>
          <cx:pt idx="20201">224097</cx:pt>
          <cx:pt idx="20202">224000</cx:pt>
          <cx:pt idx="20203">224000</cx:pt>
          <cx:pt idx="20204">224000</cx:pt>
          <cx:pt idx="20205">224000</cx:pt>
          <cx:pt idx="20206">224000</cx:pt>
          <cx:pt idx="20207">224000</cx:pt>
          <cx:pt idx="20208">224000</cx:pt>
          <cx:pt idx="20209">224000</cx:pt>
          <cx:pt idx="20210">224000</cx:pt>
          <cx:pt idx="20211">224000</cx:pt>
          <cx:pt idx="20212">223990</cx:pt>
          <cx:pt idx="20213">223000</cx:pt>
          <cx:pt idx="20214">223000</cx:pt>
          <cx:pt idx="20215">223000</cx:pt>
          <cx:pt idx="20216">223000</cx:pt>
          <cx:pt idx="20217">223000</cx:pt>
          <cx:pt idx="20218">223000</cx:pt>
          <cx:pt idx="20219">223000</cx:pt>
          <cx:pt idx="20220">223000</cx:pt>
          <cx:pt idx="20221">223000</cx:pt>
          <cx:pt idx="20222">223000</cx:pt>
          <cx:pt idx="20223">222900</cx:pt>
          <cx:pt idx="20224">222900</cx:pt>
          <cx:pt idx="20225">222500</cx:pt>
          <cx:pt idx="20226">222500</cx:pt>
          <cx:pt idx="20227">222400</cx:pt>
          <cx:pt idx="20228">222200</cx:pt>
          <cx:pt idx="20229">222000</cx:pt>
          <cx:pt idx="20230">222000</cx:pt>
          <cx:pt idx="20231">222000</cx:pt>
          <cx:pt idx="20232">222000</cx:pt>
          <cx:pt idx="20233">222000</cx:pt>
          <cx:pt idx="20234">222000</cx:pt>
          <cx:pt idx="20235">222000</cx:pt>
          <cx:pt idx="20236">222000</cx:pt>
          <cx:pt idx="20237">222000</cx:pt>
          <cx:pt idx="20238">222000</cx:pt>
          <cx:pt idx="20239">222000</cx:pt>
          <cx:pt idx="20240">222000</cx:pt>
          <cx:pt idx="20241">221900</cx:pt>
          <cx:pt idx="20242">221900</cx:pt>
          <cx:pt idx="20243">221700</cx:pt>
          <cx:pt idx="20244">221347</cx:pt>
          <cx:pt idx="20245">221000</cx:pt>
          <cx:pt idx="20246">221000</cx:pt>
          <cx:pt idx="20247">221000</cx:pt>
          <cx:pt idx="20248">221000</cx:pt>
          <cx:pt idx="20249">221000</cx:pt>
          <cx:pt idx="20250">221000</cx:pt>
          <cx:pt idx="20251">221000</cx:pt>
          <cx:pt idx="20252">221000</cx:pt>
          <cx:pt idx="20253">221000</cx:pt>
          <cx:pt idx="20254">220650</cx:pt>
          <cx:pt idx="20255">220500</cx:pt>
          <cx:pt idx="20256">220000</cx:pt>
          <cx:pt idx="20257">220000</cx:pt>
          <cx:pt idx="20258">220000</cx:pt>
          <cx:pt idx="20259">220000</cx:pt>
          <cx:pt idx="20260">220000</cx:pt>
          <cx:pt idx="20261">220000</cx:pt>
          <cx:pt idx="20262">220000</cx:pt>
          <cx:pt idx="20263">220000</cx:pt>
          <cx:pt idx="20264">220000</cx:pt>
          <cx:pt idx="20265">220000</cx:pt>
          <cx:pt idx="20266">220000</cx:pt>
          <cx:pt idx="20267">220000</cx:pt>
          <cx:pt idx="20268">220000</cx:pt>
          <cx:pt idx="20269">220000</cx:pt>
          <cx:pt idx="20270">220000</cx:pt>
          <cx:pt idx="20271">220000</cx:pt>
          <cx:pt idx="20272">220000</cx:pt>
          <cx:pt idx="20273">220000</cx:pt>
          <cx:pt idx="20274">220000</cx:pt>
          <cx:pt idx="20275">220000</cx:pt>
          <cx:pt idx="20276">220000</cx:pt>
          <cx:pt idx="20277">220000</cx:pt>
          <cx:pt idx="20278">220000</cx:pt>
          <cx:pt idx="20279">220000</cx:pt>
          <cx:pt idx="20280">220000</cx:pt>
          <cx:pt idx="20281">220000</cx:pt>
          <cx:pt idx="20282">220000</cx:pt>
          <cx:pt idx="20283">220000</cx:pt>
          <cx:pt idx="20284">220000</cx:pt>
          <cx:pt idx="20285">220000</cx:pt>
          <cx:pt idx="20286">220000</cx:pt>
          <cx:pt idx="20287">220000</cx:pt>
          <cx:pt idx="20288">220000</cx:pt>
          <cx:pt idx="20289">220000</cx:pt>
          <cx:pt idx="20290">220000</cx:pt>
          <cx:pt idx="20291">220000</cx:pt>
          <cx:pt idx="20292">220000</cx:pt>
          <cx:pt idx="20293">220000</cx:pt>
          <cx:pt idx="20294">220000</cx:pt>
          <cx:pt idx="20295">220000</cx:pt>
          <cx:pt idx="20296">220000</cx:pt>
          <cx:pt idx="20297">220000</cx:pt>
          <cx:pt idx="20298">220000</cx:pt>
          <cx:pt idx="20299">220000</cx:pt>
          <cx:pt idx="20300">220000</cx:pt>
          <cx:pt idx="20301">220000</cx:pt>
          <cx:pt idx="20302">220000</cx:pt>
          <cx:pt idx="20303">220000</cx:pt>
          <cx:pt idx="20304">220000</cx:pt>
          <cx:pt idx="20305">220000</cx:pt>
          <cx:pt idx="20306">220000</cx:pt>
          <cx:pt idx="20307">220000</cx:pt>
          <cx:pt idx="20308">220000</cx:pt>
          <cx:pt idx="20309">220000</cx:pt>
          <cx:pt idx="20310">220000</cx:pt>
          <cx:pt idx="20311">219950</cx:pt>
          <cx:pt idx="20312">219950</cx:pt>
          <cx:pt idx="20313">219950</cx:pt>
          <cx:pt idx="20314">219950</cx:pt>
          <cx:pt idx="20315">219950</cx:pt>
          <cx:pt idx="20316">219950</cx:pt>
          <cx:pt idx="20317">219950</cx:pt>
          <cx:pt idx="20318">219950</cx:pt>
          <cx:pt idx="20319">219950</cx:pt>
          <cx:pt idx="20320">219950</cx:pt>
          <cx:pt idx="20321">219950</cx:pt>
          <cx:pt idx="20322">219950</cx:pt>
          <cx:pt idx="20323">219950</cx:pt>
          <cx:pt idx="20324">219950</cx:pt>
          <cx:pt idx="20325">219900</cx:pt>
          <cx:pt idx="20326">219900</cx:pt>
          <cx:pt idx="20327">219900</cx:pt>
          <cx:pt idx="20328">219900</cx:pt>
          <cx:pt idx="20329">219900</cx:pt>
          <cx:pt idx="20330">219500</cx:pt>
          <cx:pt idx="20331">219500</cx:pt>
          <cx:pt idx="20332">219200</cx:pt>
          <cx:pt idx="20333">219000</cx:pt>
          <cx:pt idx="20334">219000</cx:pt>
          <cx:pt idx="20335">219000</cx:pt>
          <cx:pt idx="20336">219000</cx:pt>
          <cx:pt idx="20337">219000</cx:pt>
          <cx:pt idx="20338">219000</cx:pt>
          <cx:pt idx="20339">219000</cx:pt>
          <cx:pt idx="20340">219000</cx:pt>
          <cx:pt idx="20341">219000</cx:pt>
          <cx:pt idx="20342">219000</cx:pt>
          <cx:pt idx="20343">219000</cx:pt>
          <cx:pt idx="20344">219000</cx:pt>
          <cx:pt idx="20345">219000</cx:pt>
          <cx:pt idx="20346">219000</cx:pt>
          <cx:pt idx="20347">218500</cx:pt>
          <cx:pt idx="20348">218500</cx:pt>
          <cx:pt idx="20349">218500</cx:pt>
          <cx:pt idx="20350">218450</cx:pt>
          <cx:pt idx="20351">218250</cx:pt>
          <cx:pt idx="20352">218250</cx:pt>
          <cx:pt idx="20353">218000</cx:pt>
          <cx:pt idx="20354">218000</cx:pt>
          <cx:pt idx="20355">218000</cx:pt>
          <cx:pt idx="20356">218000</cx:pt>
          <cx:pt idx="20357">218000</cx:pt>
          <cx:pt idx="20358">218000</cx:pt>
          <cx:pt idx="20359">218000</cx:pt>
          <cx:pt idx="20360">218000</cx:pt>
          <cx:pt idx="20361">218000</cx:pt>
          <cx:pt idx="20362">218000</cx:pt>
          <cx:pt idx="20363">218000</cx:pt>
          <cx:pt idx="20364">218000</cx:pt>
          <cx:pt idx="20365">218000</cx:pt>
          <cx:pt idx="20366">218000</cx:pt>
          <cx:pt idx="20367">217500</cx:pt>
          <cx:pt idx="20368">217500</cx:pt>
          <cx:pt idx="20369">217500</cx:pt>
          <cx:pt idx="20370">217450</cx:pt>
          <cx:pt idx="20371">217000</cx:pt>
          <cx:pt idx="20372">217000</cx:pt>
          <cx:pt idx="20373">217000</cx:pt>
          <cx:pt idx="20374">217000</cx:pt>
          <cx:pt idx="20375">217000</cx:pt>
          <cx:pt idx="20376">217000</cx:pt>
          <cx:pt idx="20377">217000</cx:pt>
          <cx:pt idx="20378">217000</cx:pt>
          <cx:pt idx="20379">217000</cx:pt>
          <cx:pt idx="20380">217000</cx:pt>
          <cx:pt idx="20381">217000</cx:pt>
          <cx:pt idx="20382">216650</cx:pt>
          <cx:pt idx="20383">216650</cx:pt>
          <cx:pt idx="20384">216600</cx:pt>
          <cx:pt idx="20385">216500</cx:pt>
          <cx:pt idx="20386">216500</cx:pt>
          <cx:pt idx="20387">216500</cx:pt>
          <cx:pt idx="20388">216500</cx:pt>
          <cx:pt idx="20389">216500</cx:pt>
          <cx:pt idx="20390">216300</cx:pt>
          <cx:pt idx="20391">216180</cx:pt>
          <cx:pt idx="20392">216000</cx:pt>
          <cx:pt idx="20393">216000</cx:pt>
          <cx:pt idx="20394">216000</cx:pt>
          <cx:pt idx="20395">216000</cx:pt>
          <cx:pt idx="20396">216000</cx:pt>
          <cx:pt idx="20397">216000</cx:pt>
          <cx:pt idx="20398">216000</cx:pt>
          <cx:pt idx="20399">216000</cx:pt>
          <cx:pt idx="20400">216000</cx:pt>
          <cx:pt idx="20401">216000</cx:pt>
          <cx:pt idx="20402">216000</cx:pt>
          <cx:pt idx="20403">215500</cx:pt>
          <cx:pt idx="20404">215500</cx:pt>
          <cx:pt idx="20405">215150</cx:pt>
          <cx:pt idx="20406">215000</cx:pt>
          <cx:pt idx="20407">215000</cx:pt>
          <cx:pt idx="20408">215000</cx:pt>
          <cx:pt idx="20409">215000</cx:pt>
          <cx:pt idx="20410">215000</cx:pt>
          <cx:pt idx="20411">215000</cx:pt>
          <cx:pt idx="20412">215000</cx:pt>
          <cx:pt idx="20413">215000</cx:pt>
          <cx:pt idx="20414">215000</cx:pt>
          <cx:pt idx="20415">215000</cx:pt>
          <cx:pt idx="20416">215000</cx:pt>
          <cx:pt idx="20417">215000</cx:pt>
          <cx:pt idx="20418">215000</cx:pt>
          <cx:pt idx="20419">215000</cx:pt>
          <cx:pt idx="20420">215000</cx:pt>
          <cx:pt idx="20421">215000</cx:pt>
          <cx:pt idx="20422">215000</cx:pt>
          <cx:pt idx="20423">215000</cx:pt>
          <cx:pt idx="20424">215000</cx:pt>
          <cx:pt idx="20425">215000</cx:pt>
          <cx:pt idx="20426">215000</cx:pt>
          <cx:pt idx="20427">215000</cx:pt>
          <cx:pt idx="20428">215000</cx:pt>
          <cx:pt idx="20429">215000</cx:pt>
          <cx:pt idx="20430">215000</cx:pt>
          <cx:pt idx="20431">215000</cx:pt>
          <cx:pt idx="20432">215000</cx:pt>
          <cx:pt idx="20433">215000</cx:pt>
          <cx:pt idx="20434">215000</cx:pt>
          <cx:pt idx="20435">215000</cx:pt>
          <cx:pt idx="20436">215000</cx:pt>
          <cx:pt idx="20437">215000</cx:pt>
          <cx:pt idx="20438">215000</cx:pt>
          <cx:pt idx="20439">215000</cx:pt>
          <cx:pt idx="20440">215000</cx:pt>
          <cx:pt idx="20441">215000</cx:pt>
          <cx:pt idx="20442">215000</cx:pt>
          <cx:pt idx="20443">215000</cx:pt>
          <cx:pt idx="20444">215000</cx:pt>
          <cx:pt idx="20445">215000</cx:pt>
          <cx:pt idx="20446">215000</cx:pt>
          <cx:pt idx="20447">215000</cx:pt>
          <cx:pt idx="20448">215000</cx:pt>
          <cx:pt idx="20449">215000</cx:pt>
          <cx:pt idx="20450">215000</cx:pt>
          <cx:pt idx="20451">215000</cx:pt>
          <cx:pt idx="20452">215000</cx:pt>
          <cx:pt idx="20453">215000</cx:pt>
          <cx:pt idx="20454">215000</cx:pt>
          <cx:pt idx="20455">215000</cx:pt>
          <cx:pt idx="20456">215000</cx:pt>
          <cx:pt idx="20457">215000</cx:pt>
          <cx:pt idx="20458">215000</cx:pt>
          <cx:pt idx="20459">215000</cx:pt>
          <cx:pt idx="20460">215000</cx:pt>
          <cx:pt idx="20461">215000</cx:pt>
          <cx:pt idx="20462">215000</cx:pt>
          <cx:pt idx="20463">215000</cx:pt>
          <cx:pt idx="20464">215000</cx:pt>
          <cx:pt idx="20465">215000</cx:pt>
          <cx:pt idx="20466">214950</cx:pt>
          <cx:pt idx="20467">214950</cx:pt>
          <cx:pt idx="20468">214946</cx:pt>
          <cx:pt idx="20469">214100</cx:pt>
          <cx:pt idx="20470">214000</cx:pt>
          <cx:pt idx="20471">214000</cx:pt>
          <cx:pt idx="20472">214000</cx:pt>
          <cx:pt idx="20473">214000</cx:pt>
          <cx:pt idx="20474">214000</cx:pt>
          <cx:pt idx="20475">213950</cx:pt>
          <cx:pt idx="20476">213800</cx:pt>
          <cx:pt idx="20477">213675</cx:pt>
          <cx:pt idx="20478">213550</cx:pt>
          <cx:pt idx="20479">213500</cx:pt>
          <cx:pt idx="20480">213500</cx:pt>
          <cx:pt idx="20481">213500</cx:pt>
          <cx:pt idx="20482">213400</cx:pt>
          <cx:pt idx="20483">213400</cx:pt>
          <cx:pt idx="20484">213000</cx:pt>
          <cx:pt idx="20485">213000</cx:pt>
          <cx:pt idx="20486">213000</cx:pt>
          <cx:pt idx="20487">213000</cx:pt>
          <cx:pt idx="20488">213000</cx:pt>
          <cx:pt idx="20489">212700</cx:pt>
          <cx:pt idx="20490">212644</cx:pt>
          <cx:pt idx="20491">212625</cx:pt>
          <cx:pt idx="20492">212500</cx:pt>
          <cx:pt idx="20493">212500</cx:pt>
          <cx:pt idx="20494">212500</cx:pt>
          <cx:pt idx="20495">212000</cx:pt>
          <cx:pt idx="20496">212000</cx:pt>
          <cx:pt idx="20497">212000</cx:pt>
          <cx:pt idx="20498">212000</cx:pt>
          <cx:pt idx="20499">212000</cx:pt>
          <cx:pt idx="20500">212000</cx:pt>
          <cx:pt idx="20501">212000</cx:pt>
          <cx:pt idx="20502">212000</cx:pt>
          <cx:pt idx="20503">212000</cx:pt>
          <cx:pt idx="20504">212000</cx:pt>
          <cx:pt idx="20505">212000</cx:pt>
          <cx:pt idx="20506">212000</cx:pt>
          <cx:pt idx="20507">212000</cx:pt>
          <cx:pt idx="20508">212000</cx:pt>
          <cx:pt idx="20509">212000</cx:pt>
          <cx:pt idx="20510">212000</cx:pt>
          <cx:pt idx="20511">212000</cx:pt>
          <cx:pt idx="20512">212000</cx:pt>
          <cx:pt idx="20513">211000</cx:pt>
          <cx:pt idx="20514">211000</cx:pt>
          <cx:pt idx="20515">211000</cx:pt>
          <cx:pt idx="20516">211000</cx:pt>
          <cx:pt idx="20517">211000</cx:pt>
          <cx:pt idx="20518">210750</cx:pt>
          <cx:pt idx="20519">210500</cx:pt>
          <cx:pt idx="20520">210500</cx:pt>
          <cx:pt idx="20521">210500</cx:pt>
          <cx:pt idx="20522">210490</cx:pt>
          <cx:pt idx="20523">210000</cx:pt>
          <cx:pt idx="20524">210000</cx:pt>
          <cx:pt idx="20525">210000</cx:pt>
          <cx:pt idx="20526">210000</cx:pt>
          <cx:pt idx="20527">210000</cx:pt>
          <cx:pt idx="20528">210000</cx:pt>
          <cx:pt idx="20529">210000</cx:pt>
          <cx:pt idx="20530">210000</cx:pt>
          <cx:pt idx="20531">210000</cx:pt>
          <cx:pt idx="20532">210000</cx:pt>
          <cx:pt idx="20533">210000</cx:pt>
          <cx:pt idx="20534">210000</cx:pt>
          <cx:pt idx="20535">210000</cx:pt>
          <cx:pt idx="20536">210000</cx:pt>
          <cx:pt idx="20537">210000</cx:pt>
          <cx:pt idx="20538">210000</cx:pt>
          <cx:pt idx="20539">210000</cx:pt>
          <cx:pt idx="20540">210000</cx:pt>
          <cx:pt idx="20541">210000</cx:pt>
          <cx:pt idx="20542">210000</cx:pt>
          <cx:pt idx="20543">210000</cx:pt>
          <cx:pt idx="20544">210000</cx:pt>
          <cx:pt idx="20545">210000</cx:pt>
          <cx:pt idx="20546">210000</cx:pt>
          <cx:pt idx="20547">210000</cx:pt>
          <cx:pt idx="20548">210000</cx:pt>
          <cx:pt idx="20549">210000</cx:pt>
          <cx:pt idx="20550">210000</cx:pt>
          <cx:pt idx="20551">210000</cx:pt>
          <cx:pt idx="20552">210000</cx:pt>
          <cx:pt idx="20553">210000</cx:pt>
          <cx:pt idx="20554">210000</cx:pt>
          <cx:pt idx="20555">210000</cx:pt>
          <cx:pt idx="20556">210000</cx:pt>
          <cx:pt idx="20557">210000</cx:pt>
          <cx:pt idx="20558">210000</cx:pt>
          <cx:pt idx="20559">210000</cx:pt>
          <cx:pt idx="20560">210000</cx:pt>
          <cx:pt idx="20561">210000</cx:pt>
          <cx:pt idx="20562">210000</cx:pt>
          <cx:pt idx="20563">210000</cx:pt>
          <cx:pt idx="20564">210000</cx:pt>
          <cx:pt idx="20565">210000</cx:pt>
          <cx:pt idx="20566">210000</cx:pt>
          <cx:pt idx="20567">210000</cx:pt>
          <cx:pt idx="20568">210000</cx:pt>
          <cx:pt idx="20569">210000</cx:pt>
          <cx:pt idx="20570">210000</cx:pt>
          <cx:pt idx="20571">210000</cx:pt>
          <cx:pt idx="20572">210000</cx:pt>
          <cx:pt idx="20573">210000</cx:pt>
          <cx:pt idx="20574">210000</cx:pt>
          <cx:pt idx="20575">210000</cx:pt>
          <cx:pt idx="20576">210000</cx:pt>
          <cx:pt idx="20577">210000</cx:pt>
          <cx:pt idx="20578">210000</cx:pt>
          <cx:pt idx="20579">210000</cx:pt>
          <cx:pt idx="20580">210000</cx:pt>
          <cx:pt idx="20581">210000</cx:pt>
          <cx:pt idx="20582">210000</cx:pt>
          <cx:pt idx="20583">210000</cx:pt>
          <cx:pt idx="20584">210000</cx:pt>
          <cx:pt idx="20585">210000</cx:pt>
          <cx:pt idx="20586">210000</cx:pt>
          <cx:pt idx="20587">210000</cx:pt>
          <cx:pt idx="20588">210000</cx:pt>
          <cx:pt idx="20589">210000</cx:pt>
          <cx:pt idx="20590">210000</cx:pt>
          <cx:pt idx="20591">210000</cx:pt>
          <cx:pt idx="20592">209995</cx:pt>
          <cx:pt idx="20593">209977</cx:pt>
          <cx:pt idx="20594">209950</cx:pt>
          <cx:pt idx="20595">209950</cx:pt>
          <cx:pt idx="20596">209950</cx:pt>
          <cx:pt idx="20597">209950</cx:pt>
          <cx:pt idx="20598">209950</cx:pt>
          <cx:pt idx="20599">209950</cx:pt>
          <cx:pt idx="20600">209950</cx:pt>
          <cx:pt idx="20601">209950</cx:pt>
          <cx:pt idx="20602">209950</cx:pt>
          <cx:pt idx="20603">209950</cx:pt>
          <cx:pt idx="20604">209900</cx:pt>
          <cx:pt idx="20605">209900</cx:pt>
          <cx:pt idx="20606">209500</cx:pt>
          <cx:pt idx="20607">209000</cx:pt>
          <cx:pt idx="20608">209000</cx:pt>
          <cx:pt idx="20609">209000</cx:pt>
          <cx:pt idx="20610">209000</cx:pt>
          <cx:pt idx="20611">209000</cx:pt>
          <cx:pt idx="20612">209000</cx:pt>
          <cx:pt idx="20613">209000</cx:pt>
          <cx:pt idx="20614">208950</cx:pt>
          <cx:pt idx="20615">208800</cx:pt>
          <cx:pt idx="20616">208633</cx:pt>
          <cx:pt idx="20617">208500</cx:pt>
          <cx:pt idx="20618">208417</cx:pt>
          <cx:pt idx="20619">208400</cx:pt>
          <cx:pt idx="20620">208000</cx:pt>
          <cx:pt idx="20621">208000</cx:pt>
          <cx:pt idx="20622">208000</cx:pt>
          <cx:pt idx="20623">208000</cx:pt>
          <cx:pt idx="20624">208000</cx:pt>
          <cx:pt idx="20625">208000</cx:pt>
          <cx:pt idx="20626">208000</cx:pt>
          <cx:pt idx="20627">208000</cx:pt>
          <cx:pt idx="20628">208000</cx:pt>
          <cx:pt idx="20629">208000</cx:pt>
          <cx:pt idx="20630">208000</cx:pt>
          <cx:pt idx="20631">208000</cx:pt>
          <cx:pt idx="20632">208000</cx:pt>
          <cx:pt idx="20633">207950</cx:pt>
          <cx:pt idx="20634">207500</cx:pt>
          <cx:pt idx="20635">207500</cx:pt>
          <cx:pt idx="20636">207500</cx:pt>
          <cx:pt idx="20637">207200</cx:pt>
          <cx:pt idx="20638">207100</cx:pt>
          <cx:pt idx="20639">207000</cx:pt>
          <cx:pt idx="20640">207000</cx:pt>
          <cx:pt idx="20641">207000</cx:pt>
          <cx:pt idx="20642">207000</cx:pt>
          <cx:pt idx="20643">207000</cx:pt>
          <cx:pt idx="20644">207000</cx:pt>
          <cx:pt idx="20645">207000</cx:pt>
          <cx:pt idx="20646">207000</cx:pt>
          <cx:pt idx="20647">207000</cx:pt>
          <cx:pt idx="20648">207000</cx:pt>
          <cx:pt idx="20649">207000</cx:pt>
          <cx:pt idx="20650">207000</cx:pt>
          <cx:pt idx="20651">207000</cx:pt>
          <cx:pt idx="20652">207000</cx:pt>
          <cx:pt idx="20653">206990</cx:pt>
          <cx:pt idx="20654">206600</cx:pt>
          <cx:pt idx="20655">206325</cx:pt>
          <cx:pt idx="20656">206135</cx:pt>
          <cx:pt idx="20657">206000</cx:pt>
          <cx:pt idx="20658">206000</cx:pt>
          <cx:pt idx="20659">206000</cx:pt>
          <cx:pt idx="20660">206000</cx:pt>
          <cx:pt idx="20661">206000</cx:pt>
          <cx:pt idx="20662">206000</cx:pt>
          <cx:pt idx="20663">206000</cx:pt>
          <cx:pt idx="20664">206000</cx:pt>
          <cx:pt idx="20665">206000</cx:pt>
          <cx:pt idx="20666">206000</cx:pt>
          <cx:pt idx="20667">206000</cx:pt>
          <cx:pt idx="20668">206000</cx:pt>
          <cx:pt idx="20669">206000</cx:pt>
          <cx:pt idx="20670">205950</cx:pt>
          <cx:pt idx="20671">205950</cx:pt>
          <cx:pt idx="20672">205500</cx:pt>
          <cx:pt idx="20673">205500</cx:pt>
          <cx:pt idx="20674">205425</cx:pt>
          <cx:pt idx="20675">205000</cx:pt>
          <cx:pt idx="20676">205000</cx:pt>
          <cx:pt idx="20677">205000</cx:pt>
          <cx:pt idx="20678">205000</cx:pt>
          <cx:pt idx="20679">205000</cx:pt>
          <cx:pt idx="20680">205000</cx:pt>
          <cx:pt idx="20681">205000</cx:pt>
          <cx:pt idx="20682">205000</cx:pt>
          <cx:pt idx="20683">205000</cx:pt>
          <cx:pt idx="20684">205000</cx:pt>
          <cx:pt idx="20685">205000</cx:pt>
          <cx:pt idx="20686">205000</cx:pt>
          <cx:pt idx="20687">205000</cx:pt>
          <cx:pt idx="20688">205000</cx:pt>
          <cx:pt idx="20689">205000</cx:pt>
          <cx:pt idx="20690">205000</cx:pt>
          <cx:pt idx="20691">205000</cx:pt>
          <cx:pt idx="20692">205000</cx:pt>
          <cx:pt idx="20693">205000</cx:pt>
          <cx:pt idx="20694">205000</cx:pt>
          <cx:pt idx="20695">205000</cx:pt>
          <cx:pt idx="20696">205000</cx:pt>
          <cx:pt idx="20697">205000</cx:pt>
          <cx:pt idx="20698">205000</cx:pt>
          <cx:pt idx="20699">205000</cx:pt>
          <cx:pt idx="20700">205000</cx:pt>
          <cx:pt idx="20701">205000</cx:pt>
          <cx:pt idx="20702">205000</cx:pt>
          <cx:pt idx="20703">205000</cx:pt>
          <cx:pt idx="20704">205000</cx:pt>
          <cx:pt idx="20705">205000</cx:pt>
          <cx:pt idx="20706">205000</cx:pt>
          <cx:pt idx="20707">205000</cx:pt>
          <cx:pt idx="20708">205000</cx:pt>
          <cx:pt idx="20709">205000</cx:pt>
          <cx:pt idx="20710">205000</cx:pt>
          <cx:pt idx="20711">205000</cx:pt>
          <cx:pt idx="20712">205000</cx:pt>
          <cx:pt idx="20713">205000</cx:pt>
          <cx:pt idx="20714">205000</cx:pt>
          <cx:pt idx="20715">205000</cx:pt>
          <cx:pt idx="20716">205000</cx:pt>
          <cx:pt idx="20717">204995</cx:pt>
          <cx:pt idx="20718">204950</cx:pt>
          <cx:pt idx="20719">204950</cx:pt>
          <cx:pt idx="20720">204900</cx:pt>
          <cx:pt idx="20721">204750</cx:pt>
          <cx:pt idx="20722">204700</cx:pt>
          <cx:pt idx="20723">204555</cx:pt>
          <cx:pt idx="20724">204250</cx:pt>
          <cx:pt idx="20725">204000</cx:pt>
          <cx:pt idx="20726">204000</cx:pt>
          <cx:pt idx="20727">204000</cx:pt>
          <cx:pt idx="20728">204000</cx:pt>
          <cx:pt idx="20729">204000</cx:pt>
          <cx:pt idx="20730">204000</cx:pt>
          <cx:pt idx="20731">203700</cx:pt>
          <cx:pt idx="20732">203700</cx:pt>
          <cx:pt idx="20733">203000</cx:pt>
          <cx:pt idx="20734">203000</cx:pt>
          <cx:pt idx="20735">203000</cx:pt>
          <cx:pt idx="20736">203000</cx:pt>
          <cx:pt idx="20737">203000</cx:pt>
          <cx:pt idx="20738">203000</cx:pt>
          <cx:pt idx="20739">203000</cx:pt>
          <cx:pt idx="20740">203000</cx:pt>
          <cx:pt idx="20741">203000</cx:pt>
          <cx:pt idx="20742">203000</cx:pt>
          <cx:pt idx="20743">203000</cx:pt>
          <cx:pt idx="20744">202950</cx:pt>
          <cx:pt idx="20745">202500</cx:pt>
          <cx:pt idx="20746">202500</cx:pt>
          <cx:pt idx="20747">202500</cx:pt>
          <cx:pt idx="20748">202200</cx:pt>
          <cx:pt idx="20749">202000</cx:pt>
          <cx:pt idx="20750">202000</cx:pt>
          <cx:pt idx="20751">202000</cx:pt>
          <cx:pt idx="20752">202000</cx:pt>
          <cx:pt idx="20753">202000</cx:pt>
          <cx:pt idx="20754">202000</cx:pt>
          <cx:pt idx="20755">202000</cx:pt>
          <cx:pt idx="20756">202000</cx:pt>
          <cx:pt idx="20757">201700</cx:pt>
          <cx:pt idx="20758">201500</cx:pt>
          <cx:pt idx="20759">201500</cx:pt>
          <cx:pt idx="20760">201000</cx:pt>
          <cx:pt idx="20761">201000</cx:pt>
          <cx:pt idx="20762">201000</cx:pt>
          <cx:pt idx="20763">201000</cx:pt>
          <cx:pt idx="20764">201000</cx:pt>
          <cx:pt idx="20765">201000</cx:pt>
          <cx:pt idx="20766">201000</cx:pt>
          <cx:pt idx="20767">201000</cx:pt>
          <cx:pt idx="20768">200500</cx:pt>
          <cx:pt idx="20769">200500</cx:pt>
          <cx:pt idx="20770">200450</cx:pt>
          <cx:pt idx="20771">200126</cx:pt>
          <cx:pt idx="20772">200000</cx:pt>
          <cx:pt idx="20773">200000</cx:pt>
          <cx:pt idx="20774">200000</cx:pt>
          <cx:pt idx="20775">200000</cx:pt>
          <cx:pt idx="20776">200000</cx:pt>
          <cx:pt idx="20777">200000</cx:pt>
          <cx:pt idx="20778">200000</cx:pt>
          <cx:pt idx="20779">200000</cx:pt>
          <cx:pt idx="20780">200000</cx:pt>
          <cx:pt idx="20781">200000</cx:pt>
          <cx:pt idx="20782">200000</cx:pt>
          <cx:pt idx="20783">200000</cx:pt>
          <cx:pt idx="20784">200000</cx:pt>
          <cx:pt idx="20785">200000</cx:pt>
          <cx:pt idx="20786">200000</cx:pt>
          <cx:pt idx="20787">200000</cx:pt>
          <cx:pt idx="20788">200000</cx:pt>
          <cx:pt idx="20789">200000</cx:pt>
          <cx:pt idx="20790">200000</cx:pt>
          <cx:pt idx="20791">200000</cx:pt>
          <cx:pt idx="20792">200000</cx:pt>
          <cx:pt idx="20793">200000</cx:pt>
          <cx:pt idx="20794">200000</cx:pt>
          <cx:pt idx="20795">200000</cx:pt>
          <cx:pt idx="20796">200000</cx:pt>
          <cx:pt idx="20797">200000</cx:pt>
          <cx:pt idx="20798">200000</cx:pt>
          <cx:pt idx="20799">200000</cx:pt>
          <cx:pt idx="20800">200000</cx:pt>
          <cx:pt idx="20801">200000</cx:pt>
          <cx:pt idx="20802">200000</cx:pt>
          <cx:pt idx="20803">200000</cx:pt>
          <cx:pt idx="20804">200000</cx:pt>
          <cx:pt idx="20805">200000</cx:pt>
          <cx:pt idx="20806">200000</cx:pt>
          <cx:pt idx="20807">200000</cx:pt>
          <cx:pt idx="20808">200000</cx:pt>
          <cx:pt idx="20809">200000</cx:pt>
          <cx:pt idx="20810">200000</cx:pt>
          <cx:pt idx="20811">200000</cx:pt>
          <cx:pt idx="20812">200000</cx:pt>
          <cx:pt idx="20813">200000</cx:pt>
          <cx:pt idx="20814">200000</cx:pt>
          <cx:pt idx="20815">200000</cx:pt>
          <cx:pt idx="20816">200000</cx:pt>
          <cx:pt idx="20817">200000</cx:pt>
          <cx:pt idx="20818">200000</cx:pt>
          <cx:pt idx="20819">200000</cx:pt>
          <cx:pt idx="20820">200000</cx:pt>
          <cx:pt idx="20821">200000</cx:pt>
          <cx:pt idx="20822">200000</cx:pt>
          <cx:pt idx="20823">200000</cx:pt>
          <cx:pt idx="20824">200000</cx:pt>
          <cx:pt idx="20825">200000</cx:pt>
          <cx:pt idx="20826">200000</cx:pt>
          <cx:pt idx="20827">199999</cx:pt>
          <cx:pt idx="20828">199990</cx:pt>
          <cx:pt idx="20829">199990</cx:pt>
          <cx:pt idx="20830">199990</cx:pt>
          <cx:pt idx="20831">199988</cx:pt>
          <cx:pt idx="20832">199950</cx:pt>
          <cx:pt idx="20833">199950</cx:pt>
          <cx:pt idx="20834">199950</cx:pt>
          <cx:pt idx="20835">199950</cx:pt>
          <cx:pt idx="20836">199950</cx:pt>
          <cx:pt idx="20837">199950</cx:pt>
          <cx:pt idx="20838">199950</cx:pt>
          <cx:pt idx="20839">199950</cx:pt>
          <cx:pt idx="20840">199950</cx:pt>
          <cx:pt idx="20841">199950</cx:pt>
          <cx:pt idx="20842">199950</cx:pt>
          <cx:pt idx="20843">199950</cx:pt>
          <cx:pt idx="20844">199950</cx:pt>
          <cx:pt idx="20845">199950</cx:pt>
          <cx:pt idx="20846">199900</cx:pt>
          <cx:pt idx="20847">199900</cx:pt>
          <cx:pt idx="20848">199900</cx:pt>
          <cx:pt idx="20849">199500</cx:pt>
          <cx:pt idx="20850">199500</cx:pt>
          <cx:pt idx="20851">199500</cx:pt>
          <cx:pt idx="20852">199500</cx:pt>
          <cx:pt idx="20853">199400</cx:pt>
          <cx:pt idx="20854">199129</cx:pt>
          <cx:pt idx="20855">199000</cx:pt>
          <cx:pt idx="20856">199000</cx:pt>
          <cx:pt idx="20857">199000</cx:pt>
          <cx:pt idx="20858">199000</cx:pt>
          <cx:pt idx="20859">199000</cx:pt>
          <cx:pt idx="20860">199000</cx:pt>
          <cx:pt idx="20861">199000</cx:pt>
          <cx:pt idx="20862">199000</cx:pt>
          <cx:pt idx="20863">199000</cx:pt>
          <cx:pt idx="20864">199000</cx:pt>
          <cx:pt idx="20865">199000</cx:pt>
          <cx:pt idx="20866">199000</cx:pt>
          <cx:pt idx="20867">199000</cx:pt>
          <cx:pt idx="20868">199000</cx:pt>
          <cx:pt idx="20869">198900</cx:pt>
          <cx:pt idx="20870">198500</cx:pt>
          <cx:pt idx="20871">198500</cx:pt>
          <cx:pt idx="20872">198400</cx:pt>
          <cx:pt idx="20873">198000</cx:pt>
          <cx:pt idx="20874">198000</cx:pt>
          <cx:pt idx="20875">198000</cx:pt>
          <cx:pt idx="20876">198000</cx:pt>
          <cx:pt idx="20877">198000</cx:pt>
          <cx:pt idx="20878">197500</cx:pt>
          <cx:pt idx="20879">197500</cx:pt>
          <cx:pt idx="20880">197500</cx:pt>
          <cx:pt idx="20881">197400</cx:pt>
          <cx:pt idx="20882">197200</cx:pt>
          <cx:pt idx="20883">197000</cx:pt>
          <cx:pt idx="20884">197000</cx:pt>
          <cx:pt idx="20885">197000</cx:pt>
          <cx:pt idx="20886">197000</cx:pt>
          <cx:pt idx="20887">197000</cx:pt>
          <cx:pt idx="20888">196900</cx:pt>
          <cx:pt idx="20889">196700</cx:pt>
          <cx:pt idx="20890">196500</cx:pt>
          <cx:pt idx="20891">196500</cx:pt>
          <cx:pt idx="20892">196440</cx:pt>
          <cx:pt idx="20893">196000</cx:pt>
          <cx:pt idx="20894">196000</cx:pt>
          <cx:pt idx="20895">196000</cx:pt>
          <cx:pt idx="20896">196000</cx:pt>
          <cx:pt idx="20897">196000</cx:pt>
          <cx:pt idx="20898">196000</cx:pt>
          <cx:pt idx="20899">196000</cx:pt>
          <cx:pt idx="20900">195700</cx:pt>
          <cx:pt idx="20901">195500</cx:pt>
          <cx:pt idx="20902">195000</cx:pt>
          <cx:pt idx="20903">195000</cx:pt>
          <cx:pt idx="20904">195000</cx:pt>
          <cx:pt idx="20905">195000</cx:pt>
          <cx:pt idx="20906">195000</cx:pt>
          <cx:pt idx="20907">195000</cx:pt>
          <cx:pt idx="20908">195000</cx:pt>
          <cx:pt idx="20909">195000</cx:pt>
          <cx:pt idx="20910">195000</cx:pt>
          <cx:pt idx="20911">195000</cx:pt>
          <cx:pt idx="20912">195000</cx:pt>
          <cx:pt idx="20913">195000</cx:pt>
          <cx:pt idx="20914">195000</cx:pt>
          <cx:pt idx="20915">195000</cx:pt>
          <cx:pt idx="20916">195000</cx:pt>
          <cx:pt idx="20917">195000</cx:pt>
          <cx:pt idx="20918">195000</cx:pt>
          <cx:pt idx="20919">195000</cx:pt>
          <cx:pt idx="20920">195000</cx:pt>
          <cx:pt idx="20921">195000</cx:pt>
          <cx:pt idx="20922">195000</cx:pt>
          <cx:pt idx="20923">195000</cx:pt>
          <cx:pt idx="20924">195000</cx:pt>
          <cx:pt idx="20925">195000</cx:pt>
          <cx:pt idx="20926">195000</cx:pt>
          <cx:pt idx="20927">195000</cx:pt>
          <cx:pt idx="20928">195000</cx:pt>
          <cx:pt idx="20929">195000</cx:pt>
          <cx:pt idx="20930">195000</cx:pt>
          <cx:pt idx="20931">195000</cx:pt>
          <cx:pt idx="20932">195000</cx:pt>
          <cx:pt idx="20933">195000</cx:pt>
          <cx:pt idx="20934">194990</cx:pt>
          <cx:pt idx="20935">194900</cx:pt>
          <cx:pt idx="20936">194820</cx:pt>
          <cx:pt idx="20937">194250</cx:pt>
          <cx:pt idx="20938">194000</cx:pt>
          <cx:pt idx="20939">194000</cx:pt>
          <cx:pt idx="20940">194000</cx:pt>
          <cx:pt idx="20941">194000</cx:pt>
          <cx:pt idx="20942">194000</cx:pt>
          <cx:pt idx="20943">194000</cx:pt>
          <cx:pt idx="20944">194000</cx:pt>
          <cx:pt idx="20945">194000</cx:pt>
          <cx:pt idx="20946">193500</cx:pt>
          <cx:pt idx="20947">193000</cx:pt>
          <cx:pt idx="20948">193000</cx:pt>
          <cx:pt idx="20949">193000</cx:pt>
          <cx:pt idx="20950">193000</cx:pt>
          <cx:pt idx="20951">193000</cx:pt>
          <cx:pt idx="20952">193000</cx:pt>
          <cx:pt idx="20953">193000</cx:pt>
          <cx:pt idx="20954">192950</cx:pt>
          <cx:pt idx="20955">192500</cx:pt>
          <cx:pt idx="20956">192500</cx:pt>
          <cx:pt idx="20957">192500</cx:pt>
          <cx:pt idx="20958">192500</cx:pt>
          <cx:pt idx="20959">192500</cx:pt>
          <cx:pt idx="20960">192000</cx:pt>
          <cx:pt idx="20961">192000</cx:pt>
          <cx:pt idx="20962">192000</cx:pt>
          <cx:pt idx="20963">191950</cx:pt>
          <cx:pt idx="20964">191000</cx:pt>
          <cx:pt idx="20965">191000</cx:pt>
          <cx:pt idx="20966">191000</cx:pt>
          <cx:pt idx="20967">191000</cx:pt>
          <cx:pt idx="20968">191000</cx:pt>
          <cx:pt idx="20969">190848</cx:pt>
          <cx:pt idx="20970">190500</cx:pt>
          <cx:pt idx="20971">190500</cx:pt>
          <cx:pt idx="20972">190000</cx:pt>
          <cx:pt idx="20973">190000</cx:pt>
          <cx:pt idx="20974">190000</cx:pt>
          <cx:pt idx="20975">190000</cx:pt>
          <cx:pt idx="20976">190000</cx:pt>
          <cx:pt idx="20977">190000</cx:pt>
          <cx:pt idx="20978">190000</cx:pt>
          <cx:pt idx="20979">190000</cx:pt>
          <cx:pt idx="20980">190000</cx:pt>
          <cx:pt idx="20981">190000</cx:pt>
          <cx:pt idx="20982">190000</cx:pt>
          <cx:pt idx="20983">190000</cx:pt>
          <cx:pt idx="20984">190000</cx:pt>
          <cx:pt idx="20985">190000</cx:pt>
          <cx:pt idx="20986">190000</cx:pt>
          <cx:pt idx="20987">190000</cx:pt>
          <cx:pt idx="20988">190000</cx:pt>
          <cx:pt idx="20989">190000</cx:pt>
          <cx:pt idx="20990">190000</cx:pt>
          <cx:pt idx="20991">190000</cx:pt>
          <cx:pt idx="20992">190000</cx:pt>
          <cx:pt idx="20993">190000</cx:pt>
          <cx:pt idx="20994">190000</cx:pt>
          <cx:pt idx="20995">190000</cx:pt>
          <cx:pt idx="20996">190000</cx:pt>
          <cx:pt idx="20997">190000</cx:pt>
          <cx:pt idx="20998">190000</cx:pt>
          <cx:pt idx="20999">190000</cx:pt>
          <cx:pt idx="21000">190000</cx:pt>
          <cx:pt idx="21001">190000</cx:pt>
          <cx:pt idx="21002">190000</cx:pt>
          <cx:pt idx="21003">190000</cx:pt>
          <cx:pt idx="21004">190000</cx:pt>
          <cx:pt idx="21005">190000</cx:pt>
          <cx:pt idx="21006">190000</cx:pt>
          <cx:pt idx="21007">190000</cx:pt>
          <cx:pt idx="21008">190000</cx:pt>
          <cx:pt idx="21009">190000</cx:pt>
          <cx:pt idx="21010">190000</cx:pt>
          <cx:pt idx="21011">189950</cx:pt>
          <cx:pt idx="21012">189950</cx:pt>
          <cx:pt idx="21013">189950</cx:pt>
          <cx:pt idx="21014">189900</cx:pt>
          <cx:pt idx="21015">189900</cx:pt>
          <cx:pt idx="21016">189650</cx:pt>
          <cx:pt idx="21017">189000</cx:pt>
          <cx:pt idx="21018">189000</cx:pt>
          <cx:pt idx="21019">189000</cx:pt>
          <cx:pt idx="21020">189000</cx:pt>
          <cx:pt idx="21021">189000</cx:pt>
          <cx:pt idx="21022">189000</cx:pt>
          <cx:pt idx="21023">189000</cx:pt>
          <cx:pt idx="21024">188500</cx:pt>
          <cx:pt idx="21025">188200</cx:pt>
          <cx:pt idx="21026">188000</cx:pt>
          <cx:pt idx="21027">188000</cx:pt>
          <cx:pt idx="21028">188000</cx:pt>
          <cx:pt idx="21029">188000</cx:pt>
          <cx:pt idx="21030">187500</cx:pt>
          <cx:pt idx="21031">187500</cx:pt>
          <cx:pt idx="21032">187300</cx:pt>
          <cx:pt idx="21033">187250</cx:pt>
          <cx:pt idx="21034">187000</cx:pt>
          <cx:pt idx="21035">187000</cx:pt>
          <cx:pt idx="21036">187000</cx:pt>
          <cx:pt idx="21037">187000</cx:pt>
          <cx:pt idx="21038">187000</cx:pt>
          <cx:pt idx="21039">187000</cx:pt>
          <cx:pt idx="21040">186950</cx:pt>
          <cx:pt idx="21041">186375</cx:pt>
          <cx:pt idx="21042">186000</cx:pt>
          <cx:pt idx="21043">186000</cx:pt>
          <cx:pt idx="21044">186000</cx:pt>
          <cx:pt idx="21045">185900</cx:pt>
          <cx:pt idx="21046">185850</cx:pt>
          <cx:pt idx="21047">185000</cx:pt>
          <cx:pt idx="21048">185000</cx:pt>
          <cx:pt idx="21049">185000</cx:pt>
          <cx:pt idx="21050">185000</cx:pt>
          <cx:pt idx="21051">185000</cx:pt>
          <cx:pt idx="21052">185000</cx:pt>
          <cx:pt idx="21053">185000</cx:pt>
          <cx:pt idx="21054">185000</cx:pt>
          <cx:pt idx="21055">185000</cx:pt>
          <cx:pt idx="21056">185000</cx:pt>
          <cx:pt idx="21057">185000</cx:pt>
          <cx:pt idx="21058">185000</cx:pt>
          <cx:pt idx="21059">185000</cx:pt>
          <cx:pt idx="21060">185000</cx:pt>
          <cx:pt idx="21061">185000</cx:pt>
          <cx:pt idx="21062">185000</cx:pt>
          <cx:pt idx="21063">185000</cx:pt>
          <cx:pt idx="21064">185000</cx:pt>
          <cx:pt idx="21065">185000</cx:pt>
          <cx:pt idx="21066">185000</cx:pt>
          <cx:pt idx="21067">185000</cx:pt>
          <cx:pt idx="21068">185000</cx:pt>
          <cx:pt idx="21069">185000</cx:pt>
          <cx:pt idx="21070">185000</cx:pt>
          <cx:pt idx="21071">185000</cx:pt>
          <cx:pt idx="21072">185000</cx:pt>
          <cx:pt idx="21073">185000</cx:pt>
          <cx:pt idx="21074">185000</cx:pt>
          <cx:pt idx="21075">185000</cx:pt>
          <cx:pt idx="21076">185000</cx:pt>
          <cx:pt idx="21077">185000</cx:pt>
          <cx:pt idx="21078">184900</cx:pt>
          <cx:pt idx="21079">184900</cx:pt>
          <cx:pt idx="21080">184500</cx:pt>
          <cx:pt idx="21081">184500</cx:pt>
          <cx:pt idx="21082">184000</cx:pt>
          <cx:pt idx="21083">184000</cx:pt>
          <cx:pt idx="21084">184000</cx:pt>
          <cx:pt idx="21085">183750</cx:pt>
          <cx:pt idx="21086">183750</cx:pt>
          <cx:pt idx="21087">183500</cx:pt>
          <cx:pt idx="21088">183500</cx:pt>
          <cx:pt idx="21089">183000</cx:pt>
          <cx:pt idx="21090">183000</cx:pt>
          <cx:pt idx="21091">183000</cx:pt>
          <cx:pt idx="21092">183000</cx:pt>
          <cx:pt idx="21093">183000</cx:pt>
          <cx:pt idx="21094">183000</cx:pt>
          <cx:pt idx="21095">183000</cx:pt>
          <cx:pt idx="21096">182700</cx:pt>
          <cx:pt idx="21097">182568</cx:pt>
          <cx:pt idx="21098">182500</cx:pt>
          <cx:pt idx="21099">182500</cx:pt>
          <cx:pt idx="21100">182500</cx:pt>
          <cx:pt idx="21101">182200</cx:pt>
          <cx:pt idx="21102">182000</cx:pt>
          <cx:pt idx="21103">182000</cx:pt>
          <cx:pt idx="21104">182000</cx:pt>
          <cx:pt idx="21105">181100</cx:pt>
          <cx:pt idx="21106">181000</cx:pt>
          <cx:pt idx="21107">181000</cx:pt>
          <cx:pt idx="21108">181000</cx:pt>
          <cx:pt idx="21109">180500</cx:pt>
          <cx:pt idx="21110">180500</cx:pt>
          <cx:pt idx="21111">180500</cx:pt>
          <cx:pt idx="21112">180250</cx:pt>
          <cx:pt idx="21113">180000</cx:pt>
          <cx:pt idx="21114">180000</cx:pt>
          <cx:pt idx="21115">180000</cx:pt>
          <cx:pt idx="21116">180000</cx:pt>
          <cx:pt idx="21117">180000</cx:pt>
          <cx:pt idx="21118">180000</cx:pt>
          <cx:pt idx="21119">180000</cx:pt>
          <cx:pt idx="21120">180000</cx:pt>
          <cx:pt idx="21121">180000</cx:pt>
          <cx:pt idx="21122">180000</cx:pt>
          <cx:pt idx="21123">180000</cx:pt>
          <cx:pt idx="21124">180000</cx:pt>
          <cx:pt idx="21125">180000</cx:pt>
          <cx:pt idx="21126">180000</cx:pt>
          <cx:pt idx="21127">180000</cx:pt>
          <cx:pt idx="21128">180000</cx:pt>
          <cx:pt idx="21129">180000</cx:pt>
          <cx:pt idx="21130">180000</cx:pt>
          <cx:pt idx="21131">180000</cx:pt>
          <cx:pt idx="21132">180000</cx:pt>
          <cx:pt idx="21133">180000</cx:pt>
          <cx:pt idx="21134">180000</cx:pt>
          <cx:pt idx="21135">180000</cx:pt>
          <cx:pt idx="21136">180000</cx:pt>
          <cx:pt idx="21137">180000</cx:pt>
          <cx:pt idx="21138">180000</cx:pt>
          <cx:pt idx="21139">180000</cx:pt>
          <cx:pt idx="21140">179950</cx:pt>
          <cx:pt idx="21141">179950</cx:pt>
          <cx:pt idx="21142">179950</cx:pt>
          <cx:pt idx="21143">179950</cx:pt>
          <cx:pt idx="21144">179950</cx:pt>
          <cx:pt idx="21145">179950</cx:pt>
          <cx:pt idx="21146">179900</cx:pt>
          <cx:pt idx="21147">179900</cx:pt>
          <cx:pt idx="21148">179900</cx:pt>
          <cx:pt idx="21149">179500</cx:pt>
          <cx:pt idx="21150">179500</cx:pt>
          <cx:pt idx="21151">179000</cx:pt>
          <cx:pt idx="21152">179000</cx:pt>
          <cx:pt idx="21153">179000</cx:pt>
          <cx:pt idx="21154">179000</cx:pt>
          <cx:pt idx="21155">178500</cx:pt>
          <cx:pt idx="21156">178500</cx:pt>
          <cx:pt idx="21157">178500</cx:pt>
          <cx:pt idx="21158">178500</cx:pt>
          <cx:pt idx="21159">178500</cx:pt>
          <cx:pt idx="21160">178000</cx:pt>
          <cx:pt idx="21161">178000</cx:pt>
          <cx:pt idx="21162">178000</cx:pt>
          <cx:pt idx="21163">178000</cx:pt>
          <cx:pt idx="21164">177500</cx:pt>
          <cx:pt idx="21165">177000</cx:pt>
          <cx:pt idx="21166">177000</cx:pt>
          <cx:pt idx="21167">176500</cx:pt>
          <cx:pt idx="21168">176250</cx:pt>
          <cx:pt idx="21169">176000</cx:pt>
          <cx:pt idx="21170">176000</cx:pt>
          <cx:pt idx="21171">176000</cx:pt>
          <cx:pt idx="21172">176000</cx:pt>
          <cx:pt idx="21173">175409</cx:pt>
          <cx:pt idx="21174">175003</cx:pt>
          <cx:pt idx="21175">175000</cx:pt>
          <cx:pt idx="21176">175000</cx:pt>
          <cx:pt idx="21177">175000</cx:pt>
          <cx:pt idx="21178">175000</cx:pt>
          <cx:pt idx="21179">175000</cx:pt>
          <cx:pt idx="21180">175000</cx:pt>
          <cx:pt idx="21181">175000</cx:pt>
          <cx:pt idx="21182">175000</cx:pt>
          <cx:pt idx="21183">175000</cx:pt>
          <cx:pt idx="21184">175000</cx:pt>
          <cx:pt idx="21185">175000</cx:pt>
          <cx:pt idx="21186">175000</cx:pt>
          <cx:pt idx="21187">175000</cx:pt>
          <cx:pt idx="21188">175000</cx:pt>
          <cx:pt idx="21189">175000</cx:pt>
          <cx:pt idx="21190">175000</cx:pt>
          <cx:pt idx="21191">175000</cx:pt>
          <cx:pt idx="21192">175000</cx:pt>
          <cx:pt idx="21193">175000</cx:pt>
          <cx:pt idx="21194">175000</cx:pt>
          <cx:pt idx="21195">175000</cx:pt>
          <cx:pt idx="21196">175000</cx:pt>
          <cx:pt idx="21197">175000</cx:pt>
          <cx:pt idx="21198">175000</cx:pt>
          <cx:pt idx="21199">175000</cx:pt>
          <cx:pt idx="21200">175000</cx:pt>
          <cx:pt idx="21201">175000</cx:pt>
          <cx:pt idx="21202">175000</cx:pt>
          <cx:pt idx="21203">175000</cx:pt>
          <cx:pt idx="21204">175000</cx:pt>
          <cx:pt idx="21205">175000</cx:pt>
          <cx:pt idx="21206">175000</cx:pt>
          <cx:pt idx="21207">175000</cx:pt>
          <cx:pt idx="21208">175000</cx:pt>
          <cx:pt idx="21209">175000</cx:pt>
          <cx:pt idx="21210">175000</cx:pt>
          <cx:pt idx="21211">174950</cx:pt>
          <cx:pt idx="21212">174950</cx:pt>
          <cx:pt idx="21213">174900</cx:pt>
          <cx:pt idx="21214">174500</cx:pt>
          <cx:pt idx="21215">174500</cx:pt>
          <cx:pt idx="21216">174000</cx:pt>
          <cx:pt idx="21217">174000</cx:pt>
          <cx:pt idx="21218">173250</cx:pt>
          <cx:pt idx="21219">173250</cx:pt>
          <cx:pt idx="21220">173000</cx:pt>
          <cx:pt idx="21221">173000</cx:pt>
          <cx:pt idx="21222">173000</cx:pt>
          <cx:pt idx="21223">172500</cx:pt>
          <cx:pt idx="21224">172500</cx:pt>
          <cx:pt idx="21225">172500</cx:pt>
          <cx:pt idx="21226">172380</cx:pt>
          <cx:pt idx="21227">172040</cx:pt>
          <cx:pt idx="21228">172000</cx:pt>
          <cx:pt idx="21229">172000</cx:pt>
          <cx:pt idx="21230">172000</cx:pt>
          <cx:pt idx="21231">171800</cx:pt>
          <cx:pt idx="21232">171500</cx:pt>
          <cx:pt idx="21233">171000</cx:pt>
          <cx:pt idx="21234">170500</cx:pt>
          <cx:pt idx="21235">170500</cx:pt>
          <cx:pt idx="21236">170000</cx:pt>
          <cx:pt idx="21237">170000</cx:pt>
          <cx:pt idx="21238">170000</cx:pt>
          <cx:pt idx="21239">170000</cx:pt>
          <cx:pt idx="21240">170000</cx:pt>
          <cx:pt idx="21241">170000</cx:pt>
          <cx:pt idx="21242">170000</cx:pt>
          <cx:pt idx="21243">170000</cx:pt>
          <cx:pt idx="21244">170000</cx:pt>
          <cx:pt idx="21245">170000</cx:pt>
          <cx:pt idx="21246">170000</cx:pt>
          <cx:pt idx="21247">170000</cx:pt>
          <cx:pt idx="21248">170000</cx:pt>
          <cx:pt idx="21249">170000</cx:pt>
          <cx:pt idx="21250">170000</cx:pt>
          <cx:pt idx="21251">170000</cx:pt>
          <cx:pt idx="21252">170000</cx:pt>
          <cx:pt idx="21253">170000</cx:pt>
          <cx:pt idx="21254">170000</cx:pt>
          <cx:pt idx="21255">170000</cx:pt>
          <cx:pt idx="21256">170000</cx:pt>
          <cx:pt idx="21257">170000</cx:pt>
          <cx:pt idx="21258">170000</cx:pt>
          <cx:pt idx="21259">169950</cx:pt>
          <cx:pt idx="21260">169950</cx:pt>
          <cx:pt idx="21261">169900</cx:pt>
          <cx:pt idx="21262">169575</cx:pt>
          <cx:pt idx="21263">169500</cx:pt>
          <cx:pt idx="21264">169500</cx:pt>
          <cx:pt idx="21265">169317</cx:pt>
          <cx:pt idx="21266">169100</cx:pt>
          <cx:pt idx="21267">169000</cx:pt>
          <cx:pt idx="21268">169000</cx:pt>
          <cx:pt idx="21269">169000</cx:pt>
          <cx:pt idx="21270">169000</cx:pt>
          <cx:pt idx="21271">169000</cx:pt>
          <cx:pt idx="21272">168500</cx:pt>
          <cx:pt idx="21273">168500</cx:pt>
          <cx:pt idx="21274">168000</cx:pt>
          <cx:pt idx="21275">168000</cx:pt>
          <cx:pt idx="21276">168000</cx:pt>
          <cx:pt idx="21277">168000</cx:pt>
          <cx:pt idx="21278">168000</cx:pt>
          <cx:pt idx="21279">167500</cx:pt>
          <cx:pt idx="21280">167000</cx:pt>
          <cx:pt idx="21281">167000</cx:pt>
          <cx:pt idx="21282">167000</cx:pt>
          <cx:pt idx="21283">166950</cx:pt>
          <cx:pt idx="21284">166600</cx:pt>
          <cx:pt idx="21285">166000</cx:pt>
          <cx:pt idx="21286">166000</cx:pt>
          <cx:pt idx="21287">166000</cx:pt>
          <cx:pt idx="21288">165050</cx:pt>
          <cx:pt idx="21289">165000</cx:pt>
          <cx:pt idx="21290">165000</cx:pt>
          <cx:pt idx="21291">165000</cx:pt>
          <cx:pt idx="21292">165000</cx:pt>
          <cx:pt idx="21293">165000</cx:pt>
          <cx:pt idx="21294">165000</cx:pt>
          <cx:pt idx="21295">165000</cx:pt>
          <cx:pt idx="21296">165000</cx:pt>
          <cx:pt idx="21297">165000</cx:pt>
          <cx:pt idx="21298">165000</cx:pt>
          <cx:pt idx="21299">165000</cx:pt>
          <cx:pt idx="21300">165000</cx:pt>
          <cx:pt idx="21301">165000</cx:pt>
          <cx:pt idx="21302">165000</cx:pt>
          <cx:pt idx="21303">165000</cx:pt>
          <cx:pt idx="21304">165000</cx:pt>
          <cx:pt idx="21305">165000</cx:pt>
          <cx:pt idx="21306">165000</cx:pt>
          <cx:pt idx="21307">165000</cx:pt>
          <cx:pt idx="21308">164950</cx:pt>
          <cx:pt idx="21309">164808</cx:pt>
          <cx:pt idx="21310">164000</cx:pt>
          <cx:pt idx="21311">164000</cx:pt>
          <cx:pt idx="21312">163800</cx:pt>
          <cx:pt idx="21313">163500</cx:pt>
          <cx:pt idx="21314">163500</cx:pt>
          <cx:pt idx="21315">163250</cx:pt>
          <cx:pt idx="21316">163000</cx:pt>
          <cx:pt idx="21317">163000</cx:pt>
          <cx:pt idx="21318">162950</cx:pt>
          <cx:pt idx="21319">162500</cx:pt>
          <cx:pt idx="21320">162500</cx:pt>
          <cx:pt idx="21321">162248</cx:pt>
          <cx:pt idx="21322">162000</cx:pt>
          <cx:pt idx="21323">162000</cx:pt>
          <cx:pt idx="21324">162000</cx:pt>
          <cx:pt idx="21325">161700</cx:pt>
          <cx:pt idx="21326">161500</cx:pt>
          <cx:pt idx="21327">161000</cx:pt>
          <cx:pt idx="21328">160797</cx:pt>
          <cx:pt idx="21329">160134</cx:pt>
          <cx:pt idx="21330">160000</cx:pt>
          <cx:pt idx="21331">160000</cx:pt>
          <cx:pt idx="21332">160000</cx:pt>
          <cx:pt idx="21333">160000</cx:pt>
          <cx:pt idx="21334">160000</cx:pt>
          <cx:pt idx="21335">160000</cx:pt>
          <cx:pt idx="21336">160000</cx:pt>
          <cx:pt idx="21337">160000</cx:pt>
          <cx:pt idx="21338">160000</cx:pt>
          <cx:pt idx="21339">160000</cx:pt>
          <cx:pt idx="21340">160000</cx:pt>
          <cx:pt idx="21341">160000</cx:pt>
          <cx:pt idx="21342">160000</cx:pt>
          <cx:pt idx="21343">160000</cx:pt>
          <cx:pt idx="21344">160000</cx:pt>
          <cx:pt idx="21345">160000</cx:pt>
          <cx:pt idx="21346">160000</cx:pt>
          <cx:pt idx="21347">160000</cx:pt>
          <cx:pt idx="21348">160000</cx:pt>
          <cx:pt idx="21349">160000</cx:pt>
          <cx:pt idx="21350">160000</cx:pt>
          <cx:pt idx="21351">160000</cx:pt>
          <cx:pt idx="21352">160000</cx:pt>
          <cx:pt idx="21353">160000</cx:pt>
          <cx:pt idx="21354">160000</cx:pt>
          <cx:pt idx="21355">160000</cx:pt>
          <cx:pt idx="21356">160000</cx:pt>
          <cx:pt idx="21357">159995</cx:pt>
          <cx:pt idx="21358">159100</cx:pt>
          <cx:pt idx="21359">159075</cx:pt>
          <cx:pt idx="21360">159000</cx:pt>
          <cx:pt idx="21361">159000</cx:pt>
          <cx:pt idx="21362">158800</cx:pt>
          <cx:pt idx="21363">158550</cx:pt>
          <cx:pt idx="21364">158000</cx:pt>
          <cx:pt idx="21365">158000</cx:pt>
          <cx:pt idx="21366">158000</cx:pt>
          <cx:pt idx="21367">158000</cx:pt>
          <cx:pt idx="21368">157500</cx:pt>
          <cx:pt idx="21369">157500</cx:pt>
          <cx:pt idx="21370">157500</cx:pt>
          <cx:pt idx="21371">157340</cx:pt>
          <cx:pt idx="21372">157000</cx:pt>
          <cx:pt idx="21373">157000</cx:pt>
          <cx:pt idx="21374">157000</cx:pt>
          <cx:pt idx="21375">156601</cx:pt>
          <cx:pt idx="21376">156000</cx:pt>
          <cx:pt idx="21377">156000</cx:pt>
          <cx:pt idx="21378">156000</cx:pt>
          <cx:pt idx="21379">156000</cx:pt>
          <cx:pt idx="21380">156000</cx:pt>
          <cx:pt idx="21381">156000</cx:pt>
          <cx:pt idx="21382">155000</cx:pt>
          <cx:pt idx="21383">155000</cx:pt>
          <cx:pt idx="21384">155000</cx:pt>
          <cx:pt idx="21385">155000</cx:pt>
          <cx:pt idx="21386">155000</cx:pt>
          <cx:pt idx="21387">155000</cx:pt>
          <cx:pt idx="21388">155000</cx:pt>
          <cx:pt idx="21389">155000</cx:pt>
          <cx:pt idx="21390">154950</cx:pt>
          <cx:pt idx="21391">154500</cx:pt>
          <cx:pt idx="21392">154200</cx:pt>
          <cx:pt idx="21393">154000</cx:pt>
          <cx:pt idx="21394">154000</cx:pt>
          <cx:pt idx="21395">153503</cx:pt>
          <cx:pt idx="21396">153500</cx:pt>
          <cx:pt idx="21397">153000</cx:pt>
          <cx:pt idx="21398">153000</cx:pt>
          <cx:pt idx="21399">153000</cx:pt>
          <cx:pt idx="21400">153000</cx:pt>
          <cx:pt idx="21401">152900</cx:pt>
          <cx:pt idx="21402">152500</cx:pt>
          <cx:pt idx="21403">152500</cx:pt>
          <cx:pt idx="21404">152275</cx:pt>
          <cx:pt idx="21405">152000</cx:pt>
          <cx:pt idx="21406">152000</cx:pt>
          <cx:pt idx="21407">152000</cx:pt>
          <cx:pt idx="21408">152000</cx:pt>
          <cx:pt idx="21409">152000</cx:pt>
          <cx:pt idx="21410">151600</cx:pt>
          <cx:pt idx="21411">151100</cx:pt>
          <cx:pt idx="21412">151000</cx:pt>
          <cx:pt idx="21413">151000</cx:pt>
          <cx:pt idx="21414">150550</cx:pt>
          <cx:pt idx="21415">150000</cx:pt>
          <cx:pt idx="21416">150000</cx:pt>
          <cx:pt idx="21417">150000</cx:pt>
          <cx:pt idx="21418">150000</cx:pt>
          <cx:pt idx="21419">150000</cx:pt>
          <cx:pt idx="21420">150000</cx:pt>
          <cx:pt idx="21421">150000</cx:pt>
          <cx:pt idx="21422">150000</cx:pt>
          <cx:pt idx="21423">150000</cx:pt>
          <cx:pt idx="21424">150000</cx:pt>
          <cx:pt idx="21425">150000</cx:pt>
          <cx:pt idx="21426">150000</cx:pt>
          <cx:pt idx="21427">150000</cx:pt>
          <cx:pt idx="21428">150000</cx:pt>
          <cx:pt idx="21429">150000</cx:pt>
          <cx:pt idx="21430">150000</cx:pt>
          <cx:pt idx="21431">150000</cx:pt>
          <cx:pt idx="21432">150000</cx:pt>
          <cx:pt idx="21433">150000</cx:pt>
          <cx:pt idx="21434">150000</cx:pt>
          <cx:pt idx="21435">150000</cx:pt>
          <cx:pt idx="21436">150000</cx:pt>
          <cx:pt idx="21437">150000</cx:pt>
          <cx:pt idx="21438">150000</cx:pt>
          <cx:pt idx="21439">150000</cx:pt>
          <cx:pt idx="21440">149900</cx:pt>
          <cx:pt idx="21441">149500</cx:pt>
          <cx:pt idx="21442">149000</cx:pt>
          <cx:pt idx="21443">149000</cx:pt>
          <cx:pt idx="21444">148900</cx:pt>
          <cx:pt idx="21445">148226</cx:pt>
          <cx:pt idx="21446">148000</cx:pt>
          <cx:pt idx="21447">148000</cx:pt>
          <cx:pt idx="21448">147500</cx:pt>
          <cx:pt idx="21449">147500</cx:pt>
          <cx:pt idx="21450">147500</cx:pt>
          <cx:pt idx="21451">147400</cx:pt>
          <cx:pt idx="21452">147200</cx:pt>
          <cx:pt idx="21453">147000</cx:pt>
          <cx:pt idx="21454">147000</cx:pt>
          <cx:pt idx="21455">146300</cx:pt>
          <cx:pt idx="21456">146000</cx:pt>
          <cx:pt idx="21457">146000</cx:pt>
          <cx:pt idx="21458">145600</cx:pt>
          <cx:pt idx="21459">145000</cx:pt>
          <cx:pt idx="21460">145000</cx:pt>
          <cx:pt idx="21461">145000</cx:pt>
          <cx:pt idx="21462">145000</cx:pt>
          <cx:pt idx="21463">144975</cx:pt>
          <cx:pt idx="21464">144000</cx:pt>
          <cx:pt idx="21465">144000</cx:pt>
          <cx:pt idx="21466">143000</cx:pt>
          <cx:pt idx="21467">142500</cx:pt>
          <cx:pt idx="21468">142500</cx:pt>
          <cx:pt idx="21469">142000</cx:pt>
          <cx:pt idx="21470">141800</cx:pt>
          <cx:pt idx="21471">140000</cx:pt>
          <cx:pt idx="21472">140000</cx:pt>
          <cx:pt idx="21473">140000</cx:pt>
          <cx:pt idx="21474">140000</cx:pt>
          <cx:pt idx="21475">140000</cx:pt>
          <cx:pt idx="21476">140000</cx:pt>
          <cx:pt idx="21477">140000</cx:pt>
          <cx:pt idx="21478">140000</cx:pt>
          <cx:pt idx="21479">140000</cx:pt>
          <cx:pt idx="21480">140000</cx:pt>
          <cx:pt idx="21481">139950</cx:pt>
          <cx:pt idx="21482">139500</cx:pt>
          <cx:pt idx="21483">139000</cx:pt>
          <cx:pt idx="21484">139000</cx:pt>
          <cx:pt idx="21485">139000</cx:pt>
          <cx:pt idx="21486">137900</cx:pt>
          <cx:pt idx="21487">137124</cx:pt>
          <cx:pt idx="21488">137000</cx:pt>
          <cx:pt idx="21489">137000</cx:pt>
          <cx:pt idx="21490">136500</cx:pt>
          <cx:pt idx="21491">135900</cx:pt>
          <cx:pt idx="21492">135000</cx:pt>
          <cx:pt idx="21493">135000</cx:pt>
          <cx:pt idx="21494">135000</cx:pt>
          <cx:pt idx="21495">135000</cx:pt>
          <cx:pt idx="21496">135000</cx:pt>
          <cx:pt idx="21497">135000</cx:pt>
          <cx:pt idx="21498">135000</cx:pt>
          <cx:pt idx="21499">135000</cx:pt>
          <cx:pt idx="21500">135000</cx:pt>
          <cx:pt idx="21501">135000</cx:pt>
          <cx:pt idx="21502">134000</cx:pt>
          <cx:pt idx="21503">134000</cx:pt>
          <cx:pt idx="21504">133400</cx:pt>
          <cx:pt idx="21505">133000</cx:pt>
          <cx:pt idx="21506">133000</cx:pt>
          <cx:pt idx="21507">132825</cx:pt>
          <cx:pt idx="21508">132500</cx:pt>
          <cx:pt idx="21509">132500</cx:pt>
          <cx:pt idx="21510">130000</cx:pt>
          <cx:pt idx="21511">130000</cx:pt>
          <cx:pt idx="21512">130000</cx:pt>
          <cx:pt idx="21513">130000</cx:pt>
          <cx:pt idx="21514">130000</cx:pt>
          <cx:pt idx="21515">130000</cx:pt>
          <cx:pt idx="21516">130000</cx:pt>
          <cx:pt idx="21517">130000</cx:pt>
          <cx:pt idx="21518">129888</cx:pt>
          <cx:pt idx="21519">129000</cx:pt>
          <cx:pt idx="21520">129000</cx:pt>
          <cx:pt idx="21521">129000</cx:pt>
          <cx:pt idx="21522">128750</cx:pt>
          <cx:pt idx="21523">128000</cx:pt>
          <cx:pt idx="21524">128000</cx:pt>
          <cx:pt idx="21525">128000</cx:pt>
          <cx:pt idx="21526">126500</cx:pt>
          <cx:pt idx="21527">126000</cx:pt>
          <cx:pt idx="21528">125000</cx:pt>
          <cx:pt idx="21529">125000</cx:pt>
          <cx:pt idx="21530">125000</cx:pt>
          <cx:pt idx="21531">125000</cx:pt>
          <cx:pt idx="21532">125000</cx:pt>
          <cx:pt idx="21533">124740</cx:pt>
          <cx:pt idx="21534">124500</cx:pt>
          <cx:pt idx="21535">124000</cx:pt>
          <cx:pt idx="21536">124000</cx:pt>
          <cx:pt idx="21537">123300</cx:pt>
          <cx:pt idx="21538">123000</cx:pt>
          <cx:pt idx="21539">122000</cx:pt>
          <cx:pt idx="21540">122000</cx:pt>
          <cx:pt idx="21541">122000</cx:pt>
          <cx:pt idx="21542">122000</cx:pt>
          <cx:pt idx="21543">121800</cx:pt>
          <cx:pt idx="21544">120750</cx:pt>
          <cx:pt idx="21545">120000</cx:pt>
          <cx:pt idx="21546">120000</cx:pt>
          <cx:pt idx="21547">120000</cx:pt>
          <cx:pt idx="21548">119900</cx:pt>
          <cx:pt idx="21549">119500</cx:pt>
          <cx:pt idx="21550">118125</cx:pt>
          <cx:pt idx="21551">118000</cx:pt>
          <cx:pt idx="21552">115000</cx:pt>
          <cx:pt idx="21553">115000</cx:pt>
          <cx:pt idx="21554">115000</cx:pt>
          <cx:pt idx="21555">115000</cx:pt>
          <cx:pt idx="21556">115000</cx:pt>
          <cx:pt idx="21557">115000</cx:pt>
          <cx:pt idx="21558">115000</cx:pt>
          <cx:pt idx="21559">114975</cx:pt>
          <cx:pt idx="21560">114000</cx:pt>
          <cx:pt idx="21561">112000</cx:pt>
          <cx:pt idx="21562">111300</cx:pt>
          <cx:pt idx="21563">110700</cx:pt>
          <cx:pt idx="21564">110000</cx:pt>
          <cx:pt idx="21565">110000</cx:pt>
          <cx:pt idx="21566">110000</cx:pt>
          <cx:pt idx="21567">110000</cx:pt>
          <cx:pt idx="21568">110000</cx:pt>
          <cx:pt idx="21569">110000</cx:pt>
          <cx:pt idx="21570">110000</cx:pt>
          <cx:pt idx="21571">110000</cx:pt>
          <cx:pt idx="21572">109500</cx:pt>
          <cx:pt idx="21573">109000</cx:pt>
          <cx:pt idx="21574">107000</cx:pt>
          <cx:pt idx="21575">107000</cx:pt>
          <cx:pt idx="21576">106000</cx:pt>
          <cx:pt idx="21577">105500</cx:pt>
          <cx:pt idx="21578">105000</cx:pt>
          <cx:pt idx="21579">105000</cx:pt>
          <cx:pt idx="21580">104950</cx:pt>
          <cx:pt idx="21581">102500</cx:pt>
          <cx:pt idx="21582">100000</cx:pt>
          <cx:pt idx="21583">100000</cx:pt>
          <cx:pt idx="21584">100000</cx:pt>
          <cx:pt idx="21585">100000</cx:pt>
          <cx:pt idx="21586">100000</cx:pt>
          <cx:pt idx="21587">100000</cx:pt>
          <cx:pt idx="21588">99000</cx:pt>
          <cx:pt idx="21589">96500</cx:pt>
          <cx:pt idx="21590">95000</cx:pt>
          <cx:pt idx="21591">95000</cx:pt>
          <cx:pt idx="21592">95000</cx:pt>
          <cx:pt idx="21593">95000</cx:pt>
          <cx:pt idx="21594">92000</cx:pt>
          <cx:pt idx="21595">90000</cx:pt>
          <cx:pt idx="21596">90000</cx:pt>
          <cx:pt idx="21597">90000</cx:pt>
          <cx:pt idx="21598">90000</cx:pt>
          <cx:pt idx="21599">90000</cx:pt>
          <cx:pt idx="21600">89950</cx:pt>
          <cx:pt idx="21601">89000</cx:pt>
          <cx:pt idx="21602">86500</cx:pt>
          <cx:pt idx="21603">85000</cx:pt>
          <cx:pt idx="21604">85000</cx:pt>
          <cx:pt idx="21605">84000</cx:pt>
          <cx:pt idx="21606">83000</cx:pt>
          <cx:pt idx="21607">82500</cx:pt>
          <cx:pt idx="21608">82000</cx:pt>
          <cx:pt idx="21609">81000</cx:pt>
          <cx:pt idx="21610">80000</cx:pt>
          <cx:pt idx="21611">78000</cx:pt>
          <cx:pt idx="21612">75000</cx:pt>
        </cx:lvl>
      </cx:numDim>
    </cx:data>
  </cx:chartData>
  <cx:chart>
    <cx:title pos="t" align="ctr" overlay="0">
      <cx:tx>
        <cx:txData>
          <cx:v>King County Housing Prices</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King County Housing Prices</a:t>
          </a:r>
        </a:p>
      </cx:txPr>
    </cx:title>
    <cx:plotArea>
      <cx:plotAreaRegion>
        <cx:series layoutId="boxWhisker" uniqueId="{6F27A5CC-2764-46AD-AE43-500365FFF370}">
          <cx:tx>
            <cx:txData>
              <cx:f>kc_house_data_rev!$E$1</cx:f>
              <cx:v>price</cx:v>
            </cx:txData>
          </cx:tx>
          <cx:dataId val="0"/>
          <cx:layoutPr>
            <cx:visibility meanLine="0" meanMarker="1" nonoutliers="0" outliers="1"/>
            <cx:statistics quartileMethod="exclusive"/>
          </cx:layoutPr>
        </cx:series>
      </cx:plotAreaRegion>
      <cx:axis id="0">
        <cx:catScaling/>
        <cx:tickLabels/>
      </cx:axis>
      <cx:axis id="1">
        <cx:valScaling/>
        <cx:tickLabels/>
      </cx:axis>
    </cx:plotArea>
  </cx:chart>
  <cx:spPr>
    <a:ln>
      <a:solidFill>
        <a:schemeClr val="tx1"/>
      </a:solidFill>
    </a:ln>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0-03-11T12:45:44.448" idx="1">
    <p:pos x="7141" y="3107"/>
    <p:text>This is a good point and is where segmentation comes in. With enough data for luxury houses you can split the data into segments (low and high price) and build the model for each segment.
</p:text>
    <p:extLst>
      <p:ext uri="{C676402C-5697-4E1C-873F-D02D1690AC5C}">
        <p15:threadingInfo xmlns:p15="http://schemas.microsoft.com/office/powerpoint/2012/main" timeZoneBias="420"/>
      </p:ext>
    </p:extLst>
  </p:cm>
  <p:cm authorId="2" dt="2020-03-11T12:46:02.948" idx="2">
    <p:pos x="10" y="10"/>
    <p:text>Presentation looks great
</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05T17:56:32.101"/>
    </inkml:context>
    <inkml:brush xml:id="br0">
      <inkml:brushProperty name="width" value="0.1" units="cm"/>
      <inkml:brushProperty name="height" value="0.1" units="cm"/>
      <inkml:brushProperty name="color" value="#66CC00"/>
      <inkml:brushProperty name="ignorePressure" value="1"/>
    </inkml:brush>
  </inkml:definitions>
  <inkml:trace contextRef="#ctx0" brushRef="#br0">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02F4AE-6A81-4782-BF88-7A1ED3C8D7A5}" type="datetimeFigureOut">
              <a:rPr lang="en-US" smtClean="0"/>
              <a:t>3/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00704A-471A-4741-A7F5-7273A407FB52}" type="slidenum">
              <a:rPr lang="en-US" smtClean="0"/>
              <a:t>‹#›</a:t>
            </a:fld>
            <a:endParaRPr lang="en-US"/>
          </a:p>
        </p:txBody>
      </p:sp>
    </p:spTree>
    <p:extLst>
      <p:ext uri="{BB962C8B-B14F-4D97-AF65-F5344CB8AC3E}">
        <p14:creationId xmlns:p14="http://schemas.microsoft.com/office/powerpoint/2010/main" val="30768984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3899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2816490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844876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1323188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3307059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Only" type="titleOnly">
  <p:cSld name="1_Title 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5652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Text" type="tx">
  <p:cSld name="Title and Text">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3124133" y="2570859"/>
            <a:ext cx="5853024" cy="188193"/>
          </a:xfrm>
          <a:prstGeom prst="rect">
            <a:avLst/>
          </a:prstGeom>
          <a:noFill/>
          <a:ln>
            <a:noFill/>
          </a:ln>
        </p:spPr>
        <p:txBody>
          <a:bodyPr spcFirstLastPara="1" wrap="square" lIns="0" tIns="0" rIns="0" bIns="0" anchor="t" anchorCtr="0">
            <a:spAutoFit/>
          </a:bodyPr>
          <a:lstStyle>
            <a:lvl1pPr marL="466481" lvl="0" indent="-233241" algn="l">
              <a:lnSpc>
                <a:spcPct val="100000"/>
              </a:lnSpc>
              <a:spcBef>
                <a:spcPts val="0"/>
              </a:spcBef>
              <a:spcAft>
                <a:spcPts val="0"/>
              </a:spcAft>
              <a:buSzPts val="1400"/>
              <a:buNone/>
              <a:defRPr/>
            </a:lvl1pPr>
            <a:lvl2pPr marL="932962" lvl="1" indent="-379016" algn="l">
              <a:lnSpc>
                <a:spcPct val="100000"/>
              </a:lnSpc>
              <a:spcBef>
                <a:spcPts val="0"/>
              </a:spcBef>
              <a:spcAft>
                <a:spcPts val="0"/>
              </a:spcAft>
              <a:buSzPts val="2250"/>
              <a:buChar char="▪"/>
              <a:defRPr/>
            </a:lvl2pPr>
            <a:lvl3pPr marL="1399443" lvl="2" indent="-373185" algn="l">
              <a:lnSpc>
                <a:spcPct val="100000"/>
              </a:lnSpc>
              <a:spcBef>
                <a:spcPts val="0"/>
              </a:spcBef>
              <a:spcAft>
                <a:spcPts val="0"/>
              </a:spcAft>
              <a:buSzPts val="2160"/>
              <a:buChar char="–"/>
              <a:defRPr/>
            </a:lvl3pPr>
            <a:lvl4pPr marL="1865925" lvl="3" indent="-373185" algn="l">
              <a:lnSpc>
                <a:spcPct val="100000"/>
              </a:lnSpc>
              <a:spcBef>
                <a:spcPts val="0"/>
              </a:spcBef>
              <a:spcAft>
                <a:spcPts val="0"/>
              </a:spcAft>
              <a:buSzPts val="2160"/>
              <a:buChar char="▫"/>
              <a:defRPr/>
            </a:lvl4pPr>
            <a:lvl5pPr marL="2332406" lvl="4" indent="-337032" algn="l">
              <a:lnSpc>
                <a:spcPct val="100000"/>
              </a:lnSpc>
              <a:spcBef>
                <a:spcPts val="0"/>
              </a:spcBef>
              <a:spcAft>
                <a:spcPts val="0"/>
              </a:spcAft>
              <a:buSzPts val="1602"/>
              <a:buChar char="-"/>
              <a:defRPr/>
            </a:lvl5pPr>
            <a:lvl6pPr marL="2798887" lvl="5" indent="-337032" algn="l">
              <a:lnSpc>
                <a:spcPct val="100000"/>
              </a:lnSpc>
              <a:spcBef>
                <a:spcPts val="0"/>
              </a:spcBef>
              <a:spcAft>
                <a:spcPts val="0"/>
              </a:spcAft>
              <a:buSzPts val="1602"/>
              <a:buChar char="-"/>
              <a:defRPr/>
            </a:lvl6pPr>
            <a:lvl7pPr marL="3265368" lvl="6" indent="-337032" algn="l">
              <a:lnSpc>
                <a:spcPct val="100000"/>
              </a:lnSpc>
              <a:spcBef>
                <a:spcPts val="0"/>
              </a:spcBef>
              <a:spcAft>
                <a:spcPts val="0"/>
              </a:spcAft>
              <a:buSzPts val="1602"/>
              <a:buChar char="-"/>
              <a:defRPr/>
            </a:lvl7pPr>
            <a:lvl8pPr marL="3731849" lvl="7" indent="-337033" algn="l">
              <a:lnSpc>
                <a:spcPct val="100000"/>
              </a:lnSpc>
              <a:spcBef>
                <a:spcPts val="0"/>
              </a:spcBef>
              <a:spcAft>
                <a:spcPts val="0"/>
              </a:spcAft>
              <a:buSzPts val="1602"/>
              <a:buChar char="-"/>
              <a:defRPr/>
            </a:lvl8pPr>
            <a:lvl9pPr marL="4198330" lvl="8" indent="-337033" algn="l">
              <a:lnSpc>
                <a:spcPct val="100000"/>
              </a:lnSpc>
              <a:spcBef>
                <a:spcPts val="0"/>
              </a:spcBef>
              <a:spcAft>
                <a:spcPts val="0"/>
              </a:spcAft>
              <a:buSzPts val="1602"/>
              <a:buChar char="-"/>
              <a:defRPr/>
            </a:lvl9pPr>
          </a:lstStyle>
          <a:p>
            <a:endParaRPr/>
          </a:p>
        </p:txBody>
      </p:sp>
    </p:spTree>
    <p:extLst>
      <p:ext uri="{BB962C8B-B14F-4D97-AF65-F5344CB8AC3E}">
        <p14:creationId xmlns:p14="http://schemas.microsoft.com/office/powerpoint/2010/main" val="2617488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9608B-65C9-455F-A0AB-3338777C4A6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902D35-B80E-4BB3-9F16-CC454900C7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70E67D3-5D1D-4106-9C8C-62EB7D327F19}"/>
              </a:ext>
            </a:extLst>
          </p:cNvPr>
          <p:cNvSpPr>
            <a:spLocks noGrp="1"/>
          </p:cNvSpPr>
          <p:nvPr>
            <p:ph type="dt" sz="half" idx="10"/>
          </p:nvPr>
        </p:nvSpPr>
        <p:spPr/>
        <p:txBody>
          <a:bodyPr/>
          <a:lstStyle/>
          <a:p>
            <a:fld id="{DF6BFA7B-0E8B-49E9-BCEB-A9215D3550EE}" type="datetimeFigureOut">
              <a:rPr lang="en-US" smtClean="0"/>
              <a:t>3/16/2020</a:t>
            </a:fld>
            <a:endParaRPr lang="en-US"/>
          </a:p>
        </p:txBody>
      </p:sp>
      <p:sp>
        <p:nvSpPr>
          <p:cNvPr id="5" name="Footer Placeholder 4">
            <a:extLst>
              <a:ext uri="{FF2B5EF4-FFF2-40B4-BE49-F238E27FC236}">
                <a16:creationId xmlns:a16="http://schemas.microsoft.com/office/drawing/2014/main" id="{98DAEE4D-8065-499A-A149-884143973C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6650B-F2D9-4E19-B3B7-DFD820BE0643}"/>
              </a:ext>
            </a:extLst>
          </p:cNvPr>
          <p:cNvSpPr>
            <a:spLocks noGrp="1"/>
          </p:cNvSpPr>
          <p:nvPr>
            <p:ph type="sldNum" sz="quarter" idx="12"/>
          </p:nvPr>
        </p:nvSpPr>
        <p:spPr/>
        <p:txBody>
          <a:bodyPr/>
          <a:lstStyle/>
          <a:p>
            <a:fld id="{E7C215C1-B99E-489F-AB6D-84FE3A54E163}" type="slidenum">
              <a:rPr lang="en-US" smtClean="0"/>
              <a:t>‹#›</a:t>
            </a:fld>
            <a:endParaRPr lang="en-US"/>
          </a:p>
        </p:txBody>
      </p:sp>
    </p:spTree>
    <p:extLst>
      <p:ext uri="{BB962C8B-B14F-4D97-AF65-F5344CB8AC3E}">
        <p14:creationId xmlns:p14="http://schemas.microsoft.com/office/powerpoint/2010/main" val="1396028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p:cSld name="1_Title Slide">
    <p:spTree>
      <p:nvGrpSpPr>
        <p:cNvPr id="1" name="Shape 13"/>
        <p:cNvGrpSpPr/>
        <p:nvPr/>
      </p:nvGrpSpPr>
      <p:grpSpPr>
        <a:xfrm>
          <a:off x="0" y="0"/>
          <a:ext cx="0" cy="0"/>
          <a:chOff x="0" y="0"/>
          <a:chExt cx="0" cy="0"/>
        </a:xfrm>
      </p:grpSpPr>
      <p:sp>
        <p:nvSpPr>
          <p:cNvPr id="14" name="Google Shape;14;p10"/>
          <p:cNvSpPr/>
          <p:nvPr/>
        </p:nvSpPr>
        <p:spPr>
          <a:xfrm>
            <a:off x="0" y="4725057"/>
            <a:ext cx="12192000" cy="2132942"/>
          </a:xfrm>
          <a:prstGeom prst="rect">
            <a:avLst/>
          </a:prstGeom>
          <a:solidFill>
            <a:srgbClr val="F2F2F2"/>
          </a:solidFill>
          <a:ln>
            <a:noFill/>
          </a:ln>
        </p:spPr>
        <p:txBody>
          <a:bodyPr spcFirstLastPara="1" wrap="square" lIns="93282" tIns="46628" rIns="93282" bIns="46628"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32"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026"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317489" y="3545800"/>
            <a:ext cx="10025345" cy="50244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65"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317489" y="4858154"/>
            <a:ext cx="10025345" cy="2198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28">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16"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8812838" y="1"/>
            <a:ext cx="3379162" cy="810253"/>
          </a:xfrm>
          <a:prstGeom prst="rect">
            <a:avLst/>
          </a:prstGeom>
          <a:noFill/>
          <a:ln>
            <a:noFill/>
          </a:ln>
        </p:spPr>
      </p:pic>
    </p:spTree>
    <p:extLst>
      <p:ext uri="{BB962C8B-B14F-4D97-AF65-F5344CB8AC3E}">
        <p14:creationId xmlns:p14="http://schemas.microsoft.com/office/powerpoint/2010/main" val="38576047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3124133" y="2570859"/>
            <a:ext cx="5853024" cy="188193"/>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11797359" y="6635263"/>
            <a:ext cx="161386" cy="120033"/>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8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764"/>
                <a:buFont typeface="Arial"/>
                <a:buNone/>
              </a:pPr>
              <a:t>‹#›</a:t>
            </a:fld>
            <a:endParaRPr sz="780" b="0" i="0" u="none" strike="noStrike" cap="none">
              <a:solidFill>
                <a:schemeClr val="dk1"/>
              </a:solidFill>
              <a:latin typeface="Arial"/>
              <a:ea typeface="Arial"/>
              <a:cs typeface="Arial"/>
              <a:sym typeface="Arial"/>
            </a:endParaRPr>
          </a:p>
        </p:txBody>
      </p:sp>
      <p:cxnSp>
        <p:nvCxnSpPr>
          <p:cNvPr id="28" name="Google Shape;28;p12"/>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294880314"/>
      </p:ext>
    </p:extLst>
  </p:cSld>
  <p:clrMap bg1="lt1" tx1="dk1" bg2="dk2" tx2="lt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20" Type="http://schemas.openxmlformats.org/officeDocument/2006/relationships/comments" Target="../comments/comment1.xml"/><Relationship Id="rId1" Type="http://schemas.openxmlformats.org/officeDocument/2006/relationships/slideLayout" Target="../slideLayouts/slideLayout1.xml"/><Relationship Id="rId19" Type="http://schemas.openxmlformats.org/officeDocument/2006/relationships/image" Target="../media/image12.png"/><Relationship Id="rId4" Type="http://schemas.openxmlformats.org/officeDocument/2006/relationships/customXml" Target="../ink/ink1.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4.png"/><Relationship Id="rId4" Type="http://schemas.openxmlformats.org/officeDocument/2006/relationships/image" Target="../media/image7.pn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10.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134197" y="2605174"/>
            <a:ext cx="11627068" cy="2154436"/>
          </a:xfrm>
          <a:prstGeom prst="rect">
            <a:avLst/>
          </a:prstGeom>
          <a:noFill/>
          <a:ln>
            <a:noFill/>
          </a:ln>
        </p:spPr>
        <p:txBody>
          <a:bodyPr spcFirstLastPara="1" wrap="square" lIns="0" tIns="0" rIns="0" bIns="0" anchor="t" anchorCtr="0">
            <a:spAutoFit/>
          </a:bodyPr>
          <a:lstStyle/>
          <a:p>
            <a:r>
              <a:rPr lang="en-US" sz="2800" dirty="0">
                <a:solidFill>
                  <a:schemeClr val="tx1"/>
                </a:solidFill>
              </a:rPr>
              <a:t>Springboard Data Analytics Program</a:t>
            </a:r>
            <a:br>
              <a:rPr lang="en-US" sz="2800" dirty="0">
                <a:solidFill>
                  <a:schemeClr val="tx1"/>
                </a:solidFill>
              </a:rPr>
            </a:br>
            <a:r>
              <a:rPr lang="en-US" sz="2800" dirty="0">
                <a:solidFill>
                  <a:schemeClr val="tx1"/>
                </a:solidFill>
              </a:rPr>
              <a:t>Capstone 1 Project </a:t>
            </a:r>
            <a:br>
              <a:rPr lang="en-US" sz="2800" dirty="0">
                <a:solidFill>
                  <a:schemeClr val="tx1"/>
                </a:solidFill>
              </a:rPr>
            </a:br>
            <a:r>
              <a:rPr lang="en-US" sz="2800" dirty="0">
                <a:solidFill>
                  <a:schemeClr val="tx1"/>
                </a:solidFill>
              </a:rPr>
              <a:t> </a:t>
            </a:r>
            <a:br>
              <a:rPr lang="en-US" sz="2800" dirty="0">
                <a:solidFill>
                  <a:schemeClr val="tx1"/>
                </a:solidFill>
              </a:rPr>
            </a:br>
            <a:r>
              <a:rPr lang="en-US" sz="2800" dirty="0">
                <a:solidFill>
                  <a:schemeClr val="tx1"/>
                </a:solidFill>
              </a:rPr>
              <a:t>King County, WA Housing Price Analysis and Prediction Using Multiple Linear Regression</a:t>
            </a:r>
            <a:endParaRPr sz="2800" dirty="0">
              <a:solidFill>
                <a:schemeClr val="tx1"/>
              </a:solidFill>
            </a:endParaRPr>
          </a:p>
        </p:txBody>
      </p:sp>
      <p:sp>
        <p:nvSpPr>
          <p:cNvPr id="43" name="Google Shape;43;p1"/>
          <p:cNvSpPr txBox="1"/>
          <p:nvPr/>
        </p:nvSpPr>
        <p:spPr>
          <a:xfrm>
            <a:off x="90393" y="5870865"/>
            <a:ext cx="4678723" cy="307777"/>
          </a:xfrm>
          <a:prstGeom prst="rect">
            <a:avLst/>
          </a:prstGeom>
          <a:noFill/>
          <a:ln>
            <a:noFill/>
          </a:ln>
        </p:spPr>
        <p:txBody>
          <a:bodyPr spcFirstLastPara="1" wrap="square" lIns="0" tIns="0" rIns="0" bIns="0" anchor="t" anchorCtr="0">
            <a:spAutoFit/>
          </a:bodyPr>
          <a:lstStyle/>
          <a:p>
            <a:pPr>
              <a:buClr>
                <a:srgbClr val="000000"/>
              </a:buClr>
              <a:buSzPts val="1400"/>
            </a:pPr>
            <a:r>
              <a:rPr lang="en-US" sz="2000" b="1" dirty="0">
                <a:solidFill>
                  <a:schemeClr val="dk1"/>
                </a:solidFill>
                <a:latin typeface="Arial"/>
                <a:ea typeface="Arial"/>
                <a:cs typeface="Arial"/>
                <a:sym typeface="Arial"/>
              </a:rPr>
              <a:t>Presenter: Adam Muffitt	</a:t>
            </a:r>
            <a:endParaRPr sz="2000" b="1" dirty="0">
              <a:solidFill>
                <a:srgbClr val="000000"/>
              </a:solidFill>
              <a:latin typeface="Arial"/>
              <a:ea typeface="Arial"/>
              <a:cs typeface="Arial"/>
              <a:sym typeface="Arial"/>
            </a:endParaRPr>
          </a:p>
        </p:txBody>
      </p:sp>
      <p:sp>
        <p:nvSpPr>
          <p:cNvPr id="2" name="Rectangle 1">
            <a:extLst>
              <a:ext uri="{FF2B5EF4-FFF2-40B4-BE49-F238E27FC236}">
                <a16:creationId xmlns:a16="http://schemas.microsoft.com/office/drawing/2014/main" id="{8EBC0AFA-B4DD-4E70-B52F-488847564BBE}"/>
              </a:ext>
            </a:extLst>
          </p:cNvPr>
          <p:cNvSpPr/>
          <p:nvPr/>
        </p:nvSpPr>
        <p:spPr>
          <a:xfrm>
            <a:off x="8108394" y="1"/>
            <a:ext cx="2559337" cy="85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3" name="Rectangle 2">
            <a:extLst>
              <a:ext uri="{FF2B5EF4-FFF2-40B4-BE49-F238E27FC236}">
                <a16:creationId xmlns:a16="http://schemas.microsoft.com/office/drawing/2014/main" id="{BC9526B5-5C38-45C7-B7AA-BCA569803B03}"/>
              </a:ext>
            </a:extLst>
          </p:cNvPr>
          <p:cNvSpPr/>
          <p:nvPr/>
        </p:nvSpPr>
        <p:spPr>
          <a:xfrm>
            <a:off x="10414304" y="142362"/>
            <a:ext cx="1675488" cy="952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4E55E35A-8EF2-4100-A87C-31C112D3508C}"/>
              </a:ext>
            </a:extLst>
          </p:cNvPr>
          <p:cNvPicPr>
            <a:picLocks noChangeAspect="1"/>
          </p:cNvPicPr>
          <p:nvPr/>
        </p:nvPicPr>
        <p:blipFill>
          <a:blip r:embed="rId3"/>
          <a:stretch>
            <a:fillRect/>
          </a:stretch>
        </p:blipFill>
        <p:spPr>
          <a:xfrm>
            <a:off x="6663622" y="76663"/>
            <a:ext cx="5245314" cy="2507667"/>
          </a:xfrm>
          <a:prstGeom prst="rect">
            <a:avLst/>
          </a:prstGeom>
        </p:spPr>
      </p:pic>
      <p:pic>
        <p:nvPicPr>
          <p:cNvPr id="5" name="Picture 4">
            <a:extLst>
              <a:ext uri="{FF2B5EF4-FFF2-40B4-BE49-F238E27FC236}">
                <a16:creationId xmlns:a16="http://schemas.microsoft.com/office/drawing/2014/main" id="{21C7E244-513A-4669-B50C-496409C07A53}"/>
              </a:ext>
            </a:extLst>
          </p:cNvPr>
          <p:cNvPicPr>
            <a:picLocks noChangeAspect="1"/>
          </p:cNvPicPr>
          <p:nvPr/>
        </p:nvPicPr>
        <p:blipFill>
          <a:blip r:embed="rId4"/>
          <a:stretch>
            <a:fillRect/>
          </a:stretch>
        </p:blipFill>
        <p:spPr>
          <a:xfrm>
            <a:off x="1429092" y="203110"/>
            <a:ext cx="3002268" cy="2150518"/>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239516" y="218945"/>
            <a:ext cx="11824965" cy="712824"/>
          </a:xfrm>
          <a:prstGeom prst="rect">
            <a:avLst/>
          </a:prstGeom>
          <a:noFill/>
          <a:ln>
            <a:noFill/>
          </a:ln>
        </p:spPr>
        <p:txBody>
          <a:bodyPr spcFirstLastPara="1" wrap="square" lIns="0" tIns="0" rIns="0" bIns="0" anchor="t" anchorCtr="0">
            <a:spAutoFit/>
          </a:bodyPr>
          <a:lstStyle/>
          <a:p>
            <a:r>
              <a:rPr lang="en-US" sz="1500" dirty="0">
                <a:solidFill>
                  <a:srgbClr val="002060"/>
                </a:solidFill>
              </a:rPr>
              <a:t>For King County, WA,  a predictive pricing model that incorporates specific factors likely to influence housing pricing can be utilized by real estate professionals to estimate prices and increase market efficiency.</a:t>
            </a:r>
            <a:br>
              <a:rPr lang="en-US" sz="1632" dirty="0">
                <a:solidFill>
                  <a:srgbClr val="002060"/>
                </a:solidFill>
              </a:rPr>
            </a:br>
            <a:endParaRPr sz="1632" dirty="0">
              <a:solidFill>
                <a:srgbClr val="002060"/>
              </a:solidFill>
            </a:endParaRPr>
          </a:p>
        </p:txBody>
      </p:sp>
      <p:sp>
        <p:nvSpPr>
          <p:cNvPr id="4" name="TextBox 3">
            <a:extLst>
              <a:ext uri="{FF2B5EF4-FFF2-40B4-BE49-F238E27FC236}">
                <a16:creationId xmlns:a16="http://schemas.microsoft.com/office/drawing/2014/main" id="{E2816C99-5E4F-4B2A-B5FC-EA3FE48BF2A8}"/>
              </a:ext>
            </a:extLst>
          </p:cNvPr>
          <p:cNvSpPr txBox="1"/>
          <p:nvPr/>
        </p:nvSpPr>
        <p:spPr>
          <a:xfrm>
            <a:off x="195690" y="915808"/>
            <a:ext cx="184731" cy="646331"/>
          </a:xfrm>
          <a:prstGeom prst="rect">
            <a:avLst/>
          </a:prstGeom>
          <a:noFill/>
        </p:spPr>
        <p:txBody>
          <a:bodyPr wrap="none" rtlCol="0">
            <a:spAutoFit/>
          </a:bodyPr>
          <a:lstStyle/>
          <a:p>
            <a:br>
              <a:rPr lang="en-US" dirty="0"/>
            </a:br>
            <a:endParaRPr lang="en-US" dirty="0"/>
          </a:p>
        </p:txBody>
      </p:sp>
      <p:pic>
        <p:nvPicPr>
          <p:cNvPr id="2" name="Picture 1">
            <a:extLst>
              <a:ext uri="{FF2B5EF4-FFF2-40B4-BE49-F238E27FC236}">
                <a16:creationId xmlns:a16="http://schemas.microsoft.com/office/drawing/2014/main" id="{CACFC233-D68C-4B13-843A-D808016A7FD5}"/>
              </a:ext>
            </a:extLst>
          </p:cNvPr>
          <p:cNvPicPr>
            <a:picLocks noChangeAspect="1"/>
          </p:cNvPicPr>
          <p:nvPr/>
        </p:nvPicPr>
        <p:blipFill>
          <a:blip r:embed="rId3"/>
          <a:stretch>
            <a:fillRect/>
          </a:stretch>
        </p:blipFill>
        <p:spPr>
          <a:xfrm>
            <a:off x="2352034" y="972421"/>
            <a:ext cx="7972509" cy="3909596"/>
          </a:xfrm>
          <a:prstGeom prst="rect">
            <a:avLst/>
          </a:prstGeom>
          <a:ln>
            <a:solidFill>
              <a:schemeClr val="tx1"/>
            </a:solidFill>
          </a:ln>
        </p:spPr>
      </p:pic>
      <mc:AlternateContent xmlns:mc="http://schemas.openxmlformats.org/markup-compatibility/2006" xmlns:p14="http://schemas.microsoft.com/office/powerpoint/2010/main">
        <mc:Choice Requires="p14">
          <p:contentPart p14:bwMode="auto" r:id="rId4">
            <p14:nvContentPartPr>
              <p14:cNvPr id="31" name="Ink 30">
                <a:extLst>
                  <a:ext uri="{FF2B5EF4-FFF2-40B4-BE49-F238E27FC236}">
                    <a16:creationId xmlns:a16="http://schemas.microsoft.com/office/drawing/2014/main" id="{7AA5F28C-EDD5-4357-AF0B-E584D8E3F336}"/>
                  </a:ext>
                </a:extLst>
              </p14:cNvPr>
              <p14:cNvContentPartPr/>
              <p14:nvPr/>
            </p14:nvContentPartPr>
            <p14:xfrm>
              <a:off x="470300" y="1916319"/>
              <a:ext cx="360" cy="360"/>
            </p14:xfrm>
          </p:contentPart>
        </mc:Choice>
        <mc:Fallback xmlns="">
          <p:pic>
            <p:nvPicPr>
              <p:cNvPr id="31" name="Ink 30">
                <a:extLst>
                  <a:ext uri="{FF2B5EF4-FFF2-40B4-BE49-F238E27FC236}">
                    <a16:creationId xmlns:a16="http://schemas.microsoft.com/office/drawing/2014/main" id="{7AA5F28C-EDD5-4357-AF0B-E584D8E3F336}"/>
                  </a:ext>
                </a:extLst>
              </p:cNvPr>
              <p:cNvPicPr/>
              <p:nvPr/>
            </p:nvPicPr>
            <p:blipFill>
              <a:blip r:embed="rId19"/>
              <a:stretch>
                <a:fillRect/>
              </a:stretch>
            </p:blipFill>
            <p:spPr>
              <a:xfrm>
                <a:off x="452660" y="1898319"/>
                <a:ext cx="36000" cy="36000"/>
              </a:xfrm>
              <a:prstGeom prst="rect">
                <a:avLst/>
              </a:prstGeom>
            </p:spPr>
          </p:pic>
        </mc:Fallback>
      </mc:AlternateContent>
      <p:sp>
        <p:nvSpPr>
          <p:cNvPr id="26" name="Google Shape;64;p2">
            <a:extLst>
              <a:ext uri="{FF2B5EF4-FFF2-40B4-BE49-F238E27FC236}">
                <a16:creationId xmlns:a16="http://schemas.microsoft.com/office/drawing/2014/main" id="{B6A2C6C7-B0DF-4446-8947-FB9951821467}"/>
              </a:ext>
            </a:extLst>
          </p:cNvPr>
          <p:cNvSpPr txBox="1"/>
          <p:nvPr/>
        </p:nvSpPr>
        <p:spPr>
          <a:xfrm>
            <a:off x="974630" y="4945223"/>
            <a:ext cx="10375976" cy="1726601"/>
          </a:xfrm>
          <a:prstGeom prst="rect">
            <a:avLst/>
          </a:prstGeom>
          <a:noFill/>
          <a:ln w="12700" cap="flat" cmpd="sng">
            <a:solidFill>
              <a:srgbClr val="002060"/>
            </a:solidFill>
            <a:prstDash val="dash"/>
            <a:round/>
            <a:headEnd type="none" w="sm" len="sm"/>
            <a:tailEnd type="none" w="sm" len="sm"/>
          </a:ln>
        </p:spPr>
        <p:txBody>
          <a:bodyPr spcFirstLastPara="1" wrap="square" lIns="93282" tIns="46628" rIns="93282" bIns="46628" anchor="t" anchorCtr="0">
            <a:spAutoFit/>
          </a:bodyPr>
          <a:lstStyle/>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Model</a:t>
            </a:r>
            <a:r>
              <a:rPr lang="en-US" sz="1020" b="1" u="sng" dirty="0">
                <a:solidFill>
                  <a:schemeClr val="dk1"/>
                </a:solidFill>
                <a:latin typeface="Arial"/>
                <a:ea typeface="Arial"/>
                <a:cs typeface="Arial"/>
                <a:sym typeface="Arial"/>
              </a:rPr>
              <a:t> </a:t>
            </a:r>
            <a:r>
              <a:rPr lang="en-US" sz="1020" b="1" dirty="0">
                <a:solidFill>
                  <a:schemeClr val="dk1"/>
                </a:solidFill>
                <a:latin typeface="Arial"/>
                <a:ea typeface="Arial"/>
                <a:cs typeface="Arial"/>
                <a:sym typeface="Arial"/>
              </a:rPr>
              <a:t>– A multiple linear regression model was established that showed a solid linear relationship where </a:t>
            </a:r>
            <a:r>
              <a:rPr lang="en-US" sz="1020" b="1" dirty="0">
                <a:solidFill>
                  <a:srgbClr val="FF0000"/>
                </a:solidFill>
                <a:ea typeface="Arial"/>
                <a:cs typeface="Arial"/>
                <a:sym typeface="Arial"/>
              </a:rPr>
              <a:t>63.2%  </a:t>
            </a:r>
            <a:r>
              <a:rPr lang="en-US" sz="1020" b="1" dirty="0">
                <a:solidFill>
                  <a:schemeClr val="dk1"/>
                </a:solidFill>
                <a:ea typeface="Arial"/>
                <a:cs typeface="Arial"/>
                <a:sym typeface="Arial"/>
              </a:rPr>
              <a:t>(R Square value)</a:t>
            </a:r>
            <a:r>
              <a:rPr lang="en-US" sz="1428" dirty="0">
                <a:solidFill>
                  <a:srgbClr val="FF0000"/>
                </a:solidFill>
                <a:ea typeface="Arial"/>
                <a:cs typeface="Arial"/>
                <a:sym typeface="Arial"/>
              </a:rPr>
              <a:t> </a:t>
            </a:r>
            <a:r>
              <a:rPr lang="en-US" sz="1020" b="1" dirty="0">
                <a:solidFill>
                  <a:schemeClr val="dk1"/>
                </a:solidFill>
                <a:ea typeface="Arial"/>
                <a:cs typeface="Arial"/>
                <a:sym typeface="Arial"/>
              </a:rPr>
              <a:t>of price variability is explained by the chosen input variables.</a:t>
            </a:r>
          </a:p>
          <a:p>
            <a:pPr>
              <a:buClr>
                <a:schemeClr val="dk1"/>
              </a:buClr>
              <a:buSzPts val="1000"/>
            </a:pPr>
            <a:endParaRPr sz="1020" b="1" dirty="0">
              <a:solidFill>
                <a:schemeClr val="dk1"/>
              </a:solidFill>
              <a:latin typeface="Arial"/>
              <a:ea typeface="Arial"/>
              <a:cs typeface="Arial"/>
              <a:sym typeface="Arial"/>
            </a:endParaRPr>
          </a:p>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Variables</a:t>
            </a:r>
            <a:r>
              <a:rPr lang="en-US" sz="1020" b="1" dirty="0">
                <a:solidFill>
                  <a:schemeClr val="tx1">
                    <a:lumMod val="75000"/>
                    <a:lumOff val="25000"/>
                  </a:schemeClr>
                </a:solidFill>
                <a:latin typeface="Arial"/>
                <a:ea typeface="Arial"/>
                <a:cs typeface="Arial"/>
                <a:sym typeface="Arial"/>
              </a:rPr>
              <a:t> </a:t>
            </a:r>
            <a:r>
              <a:rPr lang="en-US" sz="1020" b="1" dirty="0">
                <a:solidFill>
                  <a:schemeClr val="dk1"/>
                </a:solidFill>
                <a:latin typeface="Arial"/>
                <a:ea typeface="Arial"/>
                <a:cs typeface="Arial"/>
                <a:sym typeface="Arial"/>
              </a:rPr>
              <a:t>– Following various correlation and regression analyses showing how different housing variables in the dataset may affect housing price (dependent variable), model explanatory variables chosen were </a:t>
            </a:r>
            <a:r>
              <a:rPr lang="en-US" sz="1020" b="1" i="1" dirty="0">
                <a:solidFill>
                  <a:schemeClr val="dk1"/>
                </a:solidFill>
                <a:latin typeface="Arial"/>
                <a:ea typeface="Arial"/>
                <a:cs typeface="Arial"/>
                <a:sym typeface="Arial"/>
              </a:rPr>
              <a:t>square feet living space </a:t>
            </a:r>
            <a:r>
              <a:rPr lang="en-US" sz="1020" b="1" dirty="0">
                <a:solidFill>
                  <a:schemeClr val="dk1"/>
                </a:solidFill>
                <a:latin typeface="Arial"/>
                <a:ea typeface="Arial"/>
                <a:cs typeface="Arial"/>
                <a:sym typeface="Arial"/>
              </a:rPr>
              <a:t>(highest correlated), </a:t>
            </a:r>
            <a:r>
              <a:rPr lang="en-US" sz="1020" b="1" i="1" dirty="0">
                <a:solidFill>
                  <a:schemeClr val="dk1"/>
                </a:solidFill>
                <a:latin typeface="Arial"/>
                <a:ea typeface="Arial"/>
                <a:cs typeface="Arial"/>
                <a:sym typeface="Arial"/>
              </a:rPr>
              <a:t># of bathrooms</a:t>
            </a:r>
            <a:r>
              <a:rPr lang="en-US" sz="1020" b="1" dirty="0">
                <a:solidFill>
                  <a:schemeClr val="dk1"/>
                </a:solidFill>
                <a:latin typeface="Arial"/>
                <a:ea typeface="Arial"/>
                <a:cs typeface="Arial"/>
                <a:sym typeface="Arial"/>
              </a:rPr>
              <a:t>,</a:t>
            </a:r>
            <a:r>
              <a:rPr lang="en-US" sz="1020" b="1" i="1" dirty="0">
                <a:solidFill>
                  <a:schemeClr val="dk1"/>
                </a:solidFill>
                <a:latin typeface="Arial"/>
                <a:ea typeface="Arial"/>
                <a:cs typeface="Arial"/>
                <a:sym typeface="Arial"/>
              </a:rPr>
              <a:t> # of bedrooms</a:t>
            </a:r>
            <a:r>
              <a:rPr lang="en-US" sz="1020" b="1" dirty="0">
                <a:solidFill>
                  <a:schemeClr val="dk1"/>
                </a:solidFill>
                <a:latin typeface="Arial"/>
                <a:ea typeface="Arial"/>
                <a:cs typeface="Arial"/>
                <a:sym typeface="Arial"/>
              </a:rPr>
              <a:t>, </a:t>
            </a:r>
            <a:r>
              <a:rPr lang="en-US" sz="1020" b="1" i="1" dirty="0">
                <a:solidFill>
                  <a:schemeClr val="dk1"/>
                </a:solidFill>
                <a:latin typeface="Arial"/>
                <a:ea typeface="Arial"/>
                <a:cs typeface="Arial"/>
                <a:sym typeface="Arial"/>
              </a:rPr>
              <a:t>square feet living space of nearest 15 neighbors, latitude (</a:t>
            </a:r>
            <a:r>
              <a:rPr lang="en-US" sz="1020" b="1" dirty="0">
                <a:solidFill>
                  <a:schemeClr val="dk1"/>
                </a:solidFill>
                <a:latin typeface="Arial"/>
                <a:ea typeface="Arial"/>
                <a:cs typeface="Arial"/>
                <a:sym typeface="Arial"/>
              </a:rPr>
              <a:t>north/south), </a:t>
            </a:r>
            <a:r>
              <a:rPr lang="en-US" sz="1020" b="1" i="1" dirty="0">
                <a:solidFill>
                  <a:schemeClr val="dk1"/>
                </a:solidFill>
                <a:latin typeface="Arial"/>
                <a:ea typeface="Arial"/>
                <a:cs typeface="Arial"/>
                <a:sym typeface="Arial"/>
              </a:rPr>
              <a:t>waterfront</a:t>
            </a:r>
            <a:r>
              <a:rPr lang="en-US" sz="1020" b="1" dirty="0">
                <a:solidFill>
                  <a:schemeClr val="dk1"/>
                </a:solidFill>
                <a:latin typeface="Arial"/>
                <a:ea typeface="Arial"/>
                <a:cs typeface="Arial"/>
                <a:sym typeface="Arial"/>
              </a:rPr>
              <a:t>, and </a:t>
            </a:r>
            <a:r>
              <a:rPr lang="en-US" sz="1020" b="1" i="1" dirty="0">
                <a:solidFill>
                  <a:schemeClr val="dk1"/>
                </a:solidFill>
                <a:latin typeface="Arial"/>
                <a:ea typeface="Arial"/>
                <a:cs typeface="Arial"/>
                <a:sym typeface="Arial"/>
              </a:rPr>
              <a:t>high grade rating </a:t>
            </a:r>
            <a:r>
              <a:rPr lang="en-US" sz="1020" b="1" dirty="0">
                <a:solidFill>
                  <a:schemeClr val="dk1"/>
                </a:solidFill>
                <a:latin typeface="Arial"/>
                <a:ea typeface="Arial"/>
                <a:cs typeface="Arial"/>
                <a:sym typeface="Arial"/>
              </a:rPr>
              <a:t>(building quality).</a:t>
            </a:r>
            <a:endParaRPr sz="1428" dirty="0">
              <a:solidFill>
                <a:srgbClr val="000000"/>
              </a:solidFill>
              <a:latin typeface="Arial"/>
              <a:ea typeface="Arial"/>
              <a:cs typeface="Arial"/>
              <a:sym typeface="Arial"/>
            </a:endParaRPr>
          </a:p>
          <a:p>
            <a:pPr marL="239719" indent="-174930">
              <a:buClr>
                <a:schemeClr val="dk1"/>
              </a:buClr>
              <a:buSzPts val="1000"/>
              <a:buFont typeface="Arial" panose="020B0604020202020204" pitchFamily="34" charset="0"/>
              <a:buChar char="•"/>
            </a:pPr>
            <a:endParaRPr sz="1020" dirty="0">
              <a:solidFill>
                <a:schemeClr val="dk1"/>
              </a:solidFill>
              <a:latin typeface="Arial"/>
              <a:ea typeface="Arial"/>
              <a:cs typeface="Arial"/>
              <a:sym typeface="Arial"/>
            </a:endParaRPr>
          </a:p>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Limitations </a:t>
            </a:r>
            <a:r>
              <a:rPr lang="en-US" sz="1020" b="1" dirty="0">
                <a:solidFill>
                  <a:schemeClr val="dk1"/>
                </a:solidFill>
                <a:latin typeface="Arial"/>
                <a:ea typeface="Arial"/>
                <a:cs typeface="Arial"/>
                <a:sym typeface="Arial"/>
              </a:rPr>
              <a:t>– Due in part to the large spread of house prices in King county and # of statistical (but valid) outliers</a:t>
            </a:r>
            <a:r>
              <a:rPr lang="en-US" sz="1020" b="1" dirty="0">
                <a:solidFill>
                  <a:schemeClr val="dk1"/>
                </a:solidFill>
                <a:ea typeface="Arial"/>
                <a:cs typeface="Arial"/>
                <a:sym typeface="Arial"/>
              </a:rPr>
              <a:t>, the margin of error of the model increases as prices go over $2MM where the majority of the points show the predicted regression prices are usually considerably less than the actual sales price.  These “luxury” houses likely need more research on relevant factors that could ultimately lead to a separate model to increase overall market accuracy.</a:t>
            </a:r>
            <a:endParaRPr lang="en-US" sz="1050" b="1" dirty="0"/>
          </a:p>
        </p:txBody>
      </p:sp>
      <p:sp>
        <p:nvSpPr>
          <p:cNvPr id="8" name="Google Shape;77;p8">
            <a:extLst>
              <a:ext uri="{FF2B5EF4-FFF2-40B4-BE49-F238E27FC236}">
                <a16:creationId xmlns:a16="http://schemas.microsoft.com/office/drawing/2014/main" id="{C53BD61C-8336-4CFA-B958-0D38FAD398D0}"/>
              </a:ext>
            </a:extLst>
          </p:cNvPr>
          <p:cNvSpPr/>
          <p:nvPr/>
        </p:nvSpPr>
        <p:spPr>
          <a:xfrm>
            <a:off x="10381452" y="4452016"/>
            <a:ext cx="1957056"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81324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536411" y="86469"/>
            <a:ext cx="11119177" cy="692497"/>
          </a:xfrm>
          <a:prstGeom prst="rect">
            <a:avLst/>
          </a:prstGeom>
          <a:noFill/>
          <a:ln>
            <a:noFill/>
          </a:ln>
        </p:spPr>
        <p:txBody>
          <a:bodyPr spcFirstLastPara="1" wrap="square" lIns="0" tIns="0" rIns="0" bIns="0" anchor="t" anchorCtr="0">
            <a:spAutoFit/>
          </a:bodyPr>
          <a:lstStyle/>
          <a:p>
            <a:r>
              <a:rPr lang="en-US" sz="1500" dirty="0">
                <a:solidFill>
                  <a:srgbClr val="002060"/>
                </a:solidFill>
              </a:rPr>
              <a:t>EDA (exploratory data analysis) was initially conducted through visual scatterplots comparing housing price with other variables  which showed that some variables have linear relationships with price that may serve as good price predictors while other variables don’t appear strongly related to price. </a:t>
            </a:r>
            <a:endParaRPr sz="1500" dirty="0">
              <a:solidFill>
                <a:srgbClr val="002060"/>
              </a:solidFill>
            </a:endParaRPr>
          </a:p>
        </p:txBody>
      </p:sp>
      <p:sp>
        <p:nvSpPr>
          <p:cNvPr id="4" name="TextBox 3">
            <a:extLst>
              <a:ext uri="{FF2B5EF4-FFF2-40B4-BE49-F238E27FC236}">
                <a16:creationId xmlns:a16="http://schemas.microsoft.com/office/drawing/2014/main" id="{E2816C99-5E4F-4B2A-B5FC-EA3FE48BF2A8}"/>
              </a:ext>
            </a:extLst>
          </p:cNvPr>
          <p:cNvSpPr txBox="1"/>
          <p:nvPr/>
        </p:nvSpPr>
        <p:spPr>
          <a:xfrm>
            <a:off x="188840" y="1116350"/>
            <a:ext cx="4347665" cy="2739211"/>
          </a:xfrm>
          <a:prstGeom prst="rect">
            <a:avLst/>
          </a:prstGeom>
          <a:noFill/>
        </p:spPr>
        <p:txBody>
          <a:bodyPr wrap="none" rtlCol="0">
            <a:spAutoFit/>
          </a:bodyPr>
          <a:lstStyle/>
          <a:p>
            <a:pPr marL="285750" indent="-285750">
              <a:buFont typeface="Arial" panose="020B0604020202020204" pitchFamily="34" charset="0"/>
              <a:buChar char="•"/>
            </a:pPr>
            <a:r>
              <a:rPr lang="en-US" sz="1200" b="1" dirty="0"/>
              <a:t>House square footage, # of bedrooms, # of </a:t>
            </a:r>
            <a:br>
              <a:rPr lang="en-US" sz="1200" b="1" dirty="0"/>
            </a:br>
            <a:r>
              <a:rPr lang="en-US" sz="1200" b="1" dirty="0"/>
              <a:t>bathrooms, </a:t>
            </a:r>
            <a:r>
              <a:rPr lang="en-US" sz="1200" dirty="0"/>
              <a:t>and </a:t>
            </a:r>
            <a:r>
              <a:rPr lang="en-US" sz="1200" b="1" dirty="0"/>
              <a:t>grade </a:t>
            </a:r>
            <a:r>
              <a:rPr lang="en-US" sz="1200" dirty="0"/>
              <a:t>all appear to have positive</a:t>
            </a:r>
            <a:br>
              <a:rPr lang="en-US" sz="1200" dirty="0"/>
            </a:br>
            <a:r>
              <a:rPr lang="en-US" sz="1200" dirty="0"/>
              <a:t>relationships with price</a:t>
            </a:r>
          </a:p>
          <a:p>
            <a:pPr marL="285750" indent="-285750">
              <a:buFont typeface="Arial" panose="020B0604020202020204" pitchFamily="34" charset="0"/>
              <a:buChar char="•"/>
            </a:pPr>
            <a:endParaRPr lang="en-US" sz="1200" b="1" dirty="0"/>
          </a:p>
          <a:p>
            <a:pPr marL="285750" indent="-285750">
              <a:buFont typeface="Arial" panose="020B0604020202020204" pitchFamily="34" charset="0"/>
              <a:buChar char="•"/>
            </a:pPr>
            <a:r>
              <a:rPr lang="en-US" sz="1200" b="1" dirty="0"/>
              <a:t>House age </a:t>
            </a:r>
            <a:r>
              <a:rPr lang="en-US" sz="1200" dirty="0"/>
              <a:t>and</a:t>
            </a:r>
            <a:r>
              <a:rPr lang="en-US" sz="1200" b="1" dirty="0"/>
              <a:t> lot square footage </a:t>
            </a:r>
            <a:r>
              <a:rPr lang="en-US" sz="1200" dirty="0"/>
              <a:t>do</a:t>
            </a:r>
          </a:p>
          <a:p>
            <a:r>
              <a:rPr lang="en-US" sz="1200" dirty="0"/>
              <a:t>not show strong linear relationships with</a:t>
            </a:r>
          </a:p>
          <a:p>
            <a:r>
              <a:rPr lang="en-US" sz="1200" dirty="0"/>
              <a:t>price and therefore aren’t likely to be useful</a:t>
            </a:r>
          </a:p>
          <a:p>
            <a:r>
              <a:rPr lang="en-US" sz="1200" dirty="0"/>
              <a:t>price predictors</a:t>
            </a:r>
          </a:p>
          <a:p>
            <a:endParaRPr lang="en-US" sz="1200" dirty="0"/>
          </a:p>
          <a:p>
            <a:pPr marL="171450" indent="-171450">
              <a:buFont typeface="Arial" panose="020B0604020202020204" pitchFamily="34" charset="0"/>
              <a:buChar char="•"/>
            </a:pPr>
            <a:r>
              <a:rPr lang="en-US" sz="1200" dirty="0"/>
              <a:t>A stronger price relationship is apparent for </a:t>
            </a:r>
            <a:r>
              <a:rPr lang="en-US" sz="1200" b="1" dirty="0"/>
              <a:t>latitude</a:t>
            </a:r>
            <a:br>
              <a:rPr lang="en-US" sz="1200" dirty="0"/>
            </a:br>
            <a:r>
              <a:rPr lang="en-US" sz="1200" dirty="0"/>
              <a:t>(North/South) than </a:t>
            </a:r>
            <a:r>
              <a:rPr lang="en-US" sz="1200" b="1" dirty="0"/>
              <a:t>longitude</a:t>
            </a:r>
            <a:r>
              <a:rPr lang="en-US" sz="1200" dirty="0"/>
              <a:t> (East/West) which suggests</a:t>
            </a:r>
            <a:br>
              <a:rPr lang="en-US" sz="1200" dirty="0"/>
            </a:br>
            <a:r>
              <a:rPr lang="en-US" sz="1200" dirty="0"/>
              <a:t>more expensive houses are found in Northern King County</a:t>
            </a:r>
          </a:p>
          <a:p>
            <a:endParaRPr lang="en-US" sz="1400" dirty="0"/>
          </a:p>
          <a:p>
            <a:endParaRPr lang="en-US" sz="1400" dirty="0"/>
          </a:p>
        </p:txBody>
      </p:sp>
      <p:pic>
        <p:nvPicPr>
          <p:cNvPr id="2" name="Picture 1">
            <a:extLst>
              <a:ext uri="{FF2B5EF4-FFF2-40B4-BE49-F238E27FC236}">
                <a16:creationId xmlns:a16="http://schemas.microsoft.com/office/drawing/2014/main" id="{D4D1AB29-B4EC-42BD-88AD-8474773ACA7C}"/>
              </a:ext>
            </a:extLst>
          </p:cNvPr>
          <p:cNvPicPr>
            <a:picLocks noChangeAspect="1"/>
          </p:cNvPicPr>
          <p:nvPr/>
        </p:nvPicPr>
        <p:blipFill>
          <a:blip r:embed="rId3"/>
          <a:stretch>
            <a:fillRect/>
          </a:stretch>
        </p:blipFill>
        <p:spPr>
          <a:xfrm>
            <a:off x="4454819" y="3090182"/>
            <a:ext cx="3657335" cy="1866727"/>
          </a:xfrm>
          <a:prstGeom prst="rect">
            <a:avLst/>
          </a:prstGeom>
        </p:spPr>
      </p:pic>
      <p:pic>
        <p:nvPicPr>
          <p:cNvPr id="7" name="Picture 6">
            <a:extLst>
              <a:ext uri="{FF2B5EF4-FFF2-40B4-BE49-F238E27FC236}">
                <a16:creationId xmlns:a16="http://schemas.microsoft.com/office/drawing/2014/main" id="{0D915C29-EB6E-4353-BA66-9666A0D86304}"/>
              </a:ext>
            </a:extLst>
          </p:cNvPr>
          <p:cNvPicPr>
            <a:picLocks noChangeAspect="1"/>
          </p:cNvPicPr>
          <p:nvPr/>
        </p:nvPicPr>
        <p:blipFill>
          <a:blip r:embed="rId4"/>
          <a:stretch>
            <a:fillRect/>
          </a:stretch>
        </p:blipFill>
        <p:spPr>
          <a:xfrm>
            <a:off x="4454819" y="968148"/>
            <a:ext cx="3657335" cy="2051587"/>
          </a:xfrm>
          <a:prstGeom prst="rect">
            <a:avLst/>
          </a:prstGeom>
        </p:spPr>
      </p:pic>
      <p:pic>
        <p:nvPicPr>
          <p:cNvPr id="9" name="Picture 8">
            <a:extLst>
              <a:ext uri="{FF2B5EF4-FFF2-40B4-BE49-F238E27FC236}">
                <a16:creationId xmlns:a16="http://schemas.microsoft.com/office/drawing/2014/main" id="{B4B3AC93-7B74-47AD-83BE-5CC3B140ABDA}"/>
              </a:ext>
            </a:extLst>
          </p:cNvPr>
          <p:cNvPicPr>
            <a:picLocks noChangeAspect="1"/>
          </p:cNvPicPr>
          <p:nvPr/>
        </p:nvPicPr>
        <p:blipFill>
          <a:blip r:embed="rId5"/>
          <a:stretch>
            <a:fillRect/>
          </a:stretch>
        </p:blipFill>
        <p:spPr>
          <a:xfrm>
            <a:off x="8170877" y="968147"/>
            <a:ext cx="3981879" cy="2026421"/>
          </a:xfrm>
          <a:prstGeom prst="rect">
            <a:avLst/>
          </a:prstGeom>
        </p:spPr>
      </p:pic>
      <p:pic>
        <p:nvPicPr>
          <p:cNvPr id="11" name="Picture 10">
            <a:extLst>
              <a:ext uri="{FF2B5EF4-FFF2-40B4-BE49-F238E27FC236}">
                <a16:creationId xmlns:a16="http://schemas.microsoft.com/office/drawing/2014/main" id="{D60736BA-7100-4769-AD98-A7AF9038E7D7}"/>
              </a:ext>
            </a:extLst>
          </p:cNvPr>
          <p:cNvPicPr>
            <a:picLocks noChangeAspect="1"/>
          </p:cNvPicPr>
          <p:nvPr/>
        </p:nvPicPr>
        <p:blipFill>
          <a:blip r:embed="rId6"/>
          <a:stretch>
            <a:fillRect/>
          </a:stretch>
        </p:blipFill>
        <p:spPr>
          <a:xfrm>
            <a:off x="8204433" y="4977892"/>
            <a:ext cx="3657335" cy="1864879"/>
          </a:xfrm>
          <a:prstGeom prst="rect">
            <a:avLst/>
          </a:prstGeom>
        </p:spPr>
      </p:pic>
      <p:pic>
        <p:nvPicPr>
          <p:cNvPr id="20" name="Picture 19">
            <a:extLst>
              <a:ext uri="{FF2B5EF4-FFF2-40B4-BE49-F238E27FC236}">
                <a16:creationId xmlns:a16="http://schemas.microsoft.com/office/drawing/2014/main" id="{07E60924-48B5-4B84-8579-3D29E3D5D4E6}"/>
              </a:ext>
            </a:extLst>
          </p:cNvPr>
          <p:cNvPicPr>
            <a:picLocks noChangeAspect="1"/>
          </p:cNvPicPr>
          <p:nvPr/>
        </p:nvPicPr>
        <p:blipFill>
          <a:blip r:embed="rId7"/>
          <a:stretch>
            <a:fillRect/>
          </a:stretch>
        </p:blipFill>
        <p:spPr>
          <a:xfrm>
            <a:off x="627109" y="3564910"/>
            <a:ext cx="3282362" cy="1670430"/>
          </a:xfrm>
          <a:prstGeom prst="rect">
            <a:avLst/>
          </a:prstGeom>
        </p:spPr>
      </p:pic>
      <p:pic>
        <p:nvPicPr>
          <p:cNvPr id="22" name="Picture 21">
            <a:extLst>
              <a:ext uri="{FF2B5EF4-FFF2-40B4-BE49-F238E27FC236}">
                <a16:creationId xmlns:a16="http://schemas.microsoft.com/office/drawing/2014/main" id="{D73255FA-7409-468D-B9B1-29DB8CA40CE1}"/>
              </a:ext>
            </a:extLst>
          </p:cNvPr>
          <p:cNvPicPr>
            <a:picLocks noChangeAspect="1"/>
          </p:cNvPicPr>
          <p:nvPr/>
        </p:nvPicPr>
        <p:blipFill>
          <a:blip r:embed="rId8"/>
          <a:stretch>
            <a:fillRect/>
          </a:stretch>
        </p:blipFill>
        <p:spPr>
          <a:xfrm>
            <a:off x="832268" y="5304352"/>
            <a:ext cx="2913319" cy="1482621"/>
          </a:xfrm>
          <a:prstGeom prst="rect">
            <a:avLst/>
          </a:prstGeom>
        </p:spPr>
      </p:pic>
      <p:pic>
        <p:nvPicPr>
          <p:cNvPr id="23" name="Picture 22">
            <a:extLst>
              <a:ext uri="{FF2B5EF4-FFF2-40B4-BE49-F238E27FC236}">
                <a16:creationId xmlns:a16="http://schemas.microsoft.com/office/drawing/2014/main" id="{31695DC8-4974-4B86-9154-6257AFE06ABB}"/>
              </a:ext>
            </a:extLst>
          </p:cNvPr>
          <p:cNvPicPr>
            <a:picLocks noChangeAspect="1"/>
          </p:cNvPicPr>
          <p:nvPr/>
        </p:nvPicPr>
        <p:blipFill>
          <a:blip r:embed="rId9"/>
          <a:stretch>
            <a:fillRect/>
          </a:stretch>
        </p:blipFill>
        <p:spPr>
          <a:xfrm>
            <a:off x="4454818" y="5031966"/>
            <a:ext cx="3590223" cy="1733919"/>
          </a:xfrm>
          <a:prstGeom prst="rect">
            <a:avLst/>
          </a:prstGeom>
        </p:spPr>
      </p:pic>
      <p:cxnSp>
        <p:nvCxnSpPr>
          <p:cNvPr id="5" name="Straight Connector 4">
            <a:extLst>
              <a:ext uri="{FF2B5EF4-FFF2-40B4-BE49-F238E27FC236}">
                <a16:creationId xmlns:a16="http://schemas.microsoft.com/office/drawing/2014/main" id="{7DA86EDA-097F-4D83-B4F4-AB5F5F43750A}"/>
              </a:ext>
            </a:extLst>
          </p:cNvPr>
          <p:cNvCxnSpPr>
            <a:cxnSpLocks/>
          </p:cNvCxnSpPr>
          <p:nvPr/>
        </p:nvCxnSpPr>
        <p:spPr>
          <a:xfrm>
            <a:off x="952728" y="5502826"/>
            <a:ext cx="2640234" cy="1339945"/>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4CA78C7-B239-4048-9CAA-A60139C3285C}"/>
              </a:ext>
            </a:extLst>
          </p:cNvPr>
          <p:cNvCxnSpPr>
            <a:cxnSpLocks/>
          </p:cNvCxnSpPr>
          <p:nvPr/>
        </p:nvCxnSpPr>
        <p:spPr>
          <a:xfrm flipH="1">
            <a:off x="728235" y="5438713"/>
            <a:ext cx="3044350" cy="1327172"/>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B7E6C46-57E9-48CC-B9A7-7FA3CFA5D927}"/>
              </a:ext>
            </a:extLst>
          </p:cNvPr>
          <p:cNvCxnSpPr>
            <a:cxnSpLocks/>
          </p:cNvCxnSpPr>
          <p:nvPr/>
        </p:nvCxnSpPr>
        <p:spPr>
          <a:xfrm>
            <a:off x="4981719" y="5288371"/>
            <a:ext cx="2981251" cy="1435480"/>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023AED-F655-4B84-9ABC-FC992249B804}"/>
              </a:ext>
            </a:extLst>
          </p:cNvPr>
          <p:cNvCxnSpPr>
            <a:cxnSpLocks/>
          </p:cNvCxnSpPr>
          <p:nvPr/>
        </p:nvCxnSpPr>
        <p:spPr>
          <a:xfrm flipH="1">
            <a:off x="4506368" y="5224258"/>
            <a:ext cx="3295208" cy="1541627"/>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B3784BD-1692-40C0-8EBE-2BBBBB30E460}"/>
              </a:ext>
            </a:extLst>
          </p:cNvPr>
          <p:cNvCxnSpPr>
            <a:cxnSpLocks/>
          </p:cNvCxnSpPr>
          <p:nvPr/>
        </p:nvCxnSpPr>
        <p:spPr>
          <a:xfrm>
            <a:off x="8520392" y="5174299"/>
            <a:ext cx="3367533" cy="1521265"/>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CE7C9CA-522A-45CF-954F-861436C453BB}"/>
              </a:ext>
            </a:extLst>
          </p:cNvPr>
          <p:cNvCxnSpPr>
            <a:cxnSpLocks/>
          </p:cNvCxnSpPr>
          <p:nvPr/>
        </p:nvCxnSpPr>
        <p:spPr>
          <a:xfrm flipH="1">
            <a:off x="8431324" y="5031966"/>
            <a:ext cx="3430444" cy="1705632"/>
          </a:xfrm>
          <a:prstGeom prst="line">
            <a:avLst/>
          </a:prstGeom>
          <a:ln w="3175">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80E2FEAD-6B5F-434E-A1D7-F378B492BE1B}"/>
              </a:ext>
            </a:extLst>
          </p:cNvPr>
          <p:cNvSpPr/>
          <p:nvPr/>
        </p:nvSpPr>
        <p:spPr>
          <a:xfrm>
            <a:off x="181398" y="968148"/>
            <a:ext cx="4267934" cy="2450900"/>
          </a:xfrm>
          <a:prstGeom prst="rect">
            <a:avLst/>
          </a:prstGeom>
          <a:noFill/>
          <a:ln w="222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77;p8">
            <a:extLst>
              <a:ext uri="{FF2B5EF4-FFF2-40B4-BE49-F238E27FC236}">
                <a16:creationId xmlns:a16="http://schemas.microsoft.com/office/drawing/2014/main" id="{76343B63-179D-4242-8071-24DCD42FAEF7}"/>
              </a:ext>
            </a:extLst>
          </p:cNvPr>
          <p:cNvSpPr/>
          <p:nvPr/>
        </p:nvSpPr>
        <p:spPr>
          <a:xfrm>
            <a:off x="10075044" y="571325"/>
            <a:ext cx="2033713"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pic>
        <p:nvPicPr>
          <p:cNvPr id="6" name="Picture 5">
            <a:extLst>
              <a:ext uri="{FF2B5EF4-FFF2-40B4-BE49-F238E27FC236}">
                <a16:creationId xmlns:a16="http://schemas.microsoft.com/office/drawing/2014/main" id="{C1B52906-1EAF-445B-83A7-D40E436CCB72}"/>
              </a:ext>
            </a:extLst>
          </p:cNvPr>
          <p:cNvPicPr>
            <a:picLocks noChangeAspect="1"/>
          </p:cNvPicPr>
          <p:nvPr/>
        </p:nvPicPr>
        <p:blipFill>
          <a:blip r:embed="rId10"/>
          <a:stretch>
            <a:fillRect/>
          </a:stretch>
        </p:blipFill>
        <p:spPr>
          <a:xfrm>
            <a:off x="8204433" y="3138658"/>
            <a:ext cx="3948323" cy="1804737"/>
          </a:xfrm>
          <a:prstGeom prst="rect">
            <a:avLst/>
          </a:prstGeom>
        </p:spPr>
      </p:pic>
    </p:spTree>
    <p:extLst>
      <p:ext uri="{BB962C8B-B14F-4D97-AF65-F5344CB8AC3E}">
        <p14:creationId xmlns:p14="http://schemas.microsoft.com/office/powerpoint/2010/main" val="2053780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F79B95-D9A3-41D8-A5EE-42C46E78FB10}"/>
              </a:ext>
            </a:extLst>
          </p:cNvPr>
          <p:cNvPicPr>
            <a:picLocks noChangeAspect="1"/>
          </p:cNvPicPr>
          <p:nvPr/>
        </p:nvPicPr>
        <p:blipFill>
          <a:blip r:embed="rId2"/>
          <a:stretch>
            <a:fillRect/>
          </a:stretch>
        </p:blipFill>
        <p:spPr>
          <a:xfrm>
            <a:off x="145826" y="1262120"/>
            <a:ext cx="6372842" cy="3708398"/>
          </a:xfrm>
          <a:prstGeom prst="rect">
            <a:avLst/>
          </a:prstGeom>
          <a:ln>
            <a:solidFill>
              <a:schemeClr val="tx1"/>
            </a:solidFill>
          </a:ln>
        </p:spPr>
      </p:pic>
      <p:sp>
        <p:nvSpPr>
          <p:cNvPr id="8" name="TextBox 7">
            <a:extLst>
              <a:ext uri="{FF2B5EF4-FFF2-40B4-BE49-F238E27FC236}">
                <a16:creationId xmlns:a16="http://schemas.microsoft.com/office/drawing/2014/main" id="{02EF3836-8F56-408D-BEC0-C2BD95EDBA92}"/>
              </a:ext>
            </a:extLst>
          </p:cNvPr>
          <p:cNvSpPr txBox="1"/>
          <p:nvPr/>
        </p:nvSpPr>
        <p:spPr>
          <a:xfrm>
            <a:off x="362654" y="5051303"/>
            <a:ext cx="6076474" cy="1384995"/>
          </a:xfrm>
          <a:prstGeom prst="rect">
            <a:avLst/>
          </a:prstGeom>
          <a:noFill/>
          <a:ln w="19050">
            <a:solidFill>
              <a:schemeClr val="tx1"/>
            </a:solidFill>
            <a:prstDash val="dash"/>
          </a:ln>
        </p:spPr>
        <p:txBody>
          <a:bodyPr wrap="square" rtlCol="0">
            <a:spAutoFit/>
          </a:bodyPr>
          <a:lstStyle/>
          <a:p>
            <a:endParaRPr lang="en-US" sz="1200" dirty="0"/>
          </a:p>
          <a:p>
            <a:pPr marL="171450" indent="-171450">
              <a:buFont typeface="Arial" panose="020B0604020202020204" pitchFamily="34" charset="0"/>
              <a:buChar char="•"/>
            </a:pPr>
            <a:r>
              <a:rPr lang="en-US" sz="1200" dirty="0"/>
              <a:t>The highest priced areas are close to Seattle and Bellevue on both sides of Lake Washington and decrease moving North beyond that.  North King County is clearly higher priced than South King County.</a:t>
            </a:r>
          </a:p>
          <a:p>
            <a:pPr marL="171450" indent="-171450">
              <a:buFont typeface="Arial" panose="020B0604020202020204" pitchFamily="34" charset="0"/>
              <a:buChar char="•"/>
            </a:pPr>
            <a:endParaRPr lang="en-US" sz="1200" dirty="0"/>
          </a:p>
          <a:p>
            <a:endParaRPr lang="en-US" sz="1200" dirty="0"/>
          </a:p>
          <a:p>
            <a:pPr marL="171450" indent="-171450">
              <a:buFont typeface="Arial" panose="020B0604020202020204" pitchFamily="34" charset="0"/>
              <a:buChar char="•"/>
            </a:pPr>
            <a:endParaRPr lang="en-US" sz="1200" dirty="0"/>
          </a:p>
        </p:txBody>
      </p:sp>
      <p:sp>
        <p:nvSpPr>
          <p:cNvPr id="6" name="Google Shape;77;p8">
            <a:extLst>
              <a:ext uri="{FF2B5EF4-FFF2-40B4-BE49-F238E27FC236}">
                <a16:creationId xmlns:a16="http://schemas.microsoft.com/office/drawing/2014/main" id="{BE848EFB-6AB5-4815-96A3-7FC13F8F2100}"/>
              </a:ext>
            </a:extLst>
          </p:cNvPr>
          <p:cNvSpPr/>
          <p:nvPr/>
        </p:nvSpPr>
        <p:spPr>
          <a:xfrm>
            <a:off x="145826" y="6428359"/>
            <a:ext cx="2033713"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sp>
        <p:nvSpPr>
          <p:cNvPr id="10" name="Google Shape;182;p5">
            <a:extLst>
              <a:ext uri="{FF2B5EF4-FFF2-40B4-BE49-F238E27FC236}">
                <a16:creationId xmlns:a16="http://schemas.microsoft.com/office/drawing/2014/main" id="{B3C933EF-B2CE-4EE3-904E-1AA625F8C263}"/>
              </a:ext>
            </a:extLst>
          </p:cNvPr>
          <p:cNvSpPr txBox="1">
            <a:spLocks/>
          </p:cNvSpPr>
          <p:nvPr/>
        </p:nvSpPr>
        <p:spPr>
          <a:xfrm>
            <a:off x="176169" y="121905"/>
            <a:ext cx="11916303" cy="69249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6000"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pPr algn="l"/>
            <a:r>
              <a:rPr lang="en-US" sz="1500" kern="0" dirty="0">
                <a:solidFill>
                  <a:srgbClr val="002060"/>
                </a:solidFill>
              </a:rPr>
              <a:t>Echoing scatterplots and subsequent correlation analysis, Tableau geographic charts show housing prices generally increase as latitude increases (South to North) but doesn’t noticeably change with longitude (West to East). In addition, waterfront houses are associated with higher prices.</a:t>
            </a:r>
          </a:p>
        </p:txBody>
      </p:sp>
      <p:pic>
        <p:nvPicPr>
          <p:cNvPr id="11" name="Picture 10">
            <a:extLst>
              <a:ext uri="{FF2B5EF4-FFF2-40B4-BE49-F238E27FC236}">
                <a16:creationId xmlns:a16="http://schemas.microsoft.com/office/drawing/2014/main" id="{F946CEAC-5BEE-4FD3-AE27-F8C46745A915}"/>
              </a:ext>
            </a:extLst>
          </p:cNvPr>
          <p:cNvPicPr>
            <a:picLocks noChangeAspect="1"/>
          </p:cNvPicPr>
          <p:nvPr/>
        </p:nvPicPr>
        <p:blipFill>
          <a:blip r:embed="rId3"/>
          <a:stretch>
            <a:fillRect/>
          </a:stretch>
        </p:blipFill>
        <p:spPr>
          <a:xfrm>
            <a:off x="6743901" y="1262120"/>
            <a:ext cx="5085443" cy="3693152"/>
          </a:xfrm>
          <a:prstGeom prst="rect">
            <a:avLst/>
          </a:prstGeom>
          <a:ln>
            <a:solidFill>
              <a:schemeClr val="tx1"/>
            </a:solidFill>
          </a:ln>
        </p:spPr>
      </p:pic>
      <p:sp>
        <p:nvSpPr>
          <p:cNvPr id="12" name="TextBox 11">
            <a:extLst>
              <a:ext uri="{FF2B5EF4-FFF2-40B4-BE49-F238E27FC236}">
                <a16:creationId xmlns:a16="http://schemas.microsoft.com/office/drawing/2014/main" id="{CFB4C205-005F-4DFD-9D08-CAA464FB5FD1}"/>
              </a:ext>
            </a:extLst>
          </p:cNvPr>
          <p:cNvSpPr txBox="1"/>
          <p:nvPr/>
        </p:nvSpPr>
        <p:spPr>
          <a:xfrm>
            <a:off x="6743900" y="5051302"/>
            <a:ext cx="5348571" cy="1384995"/>
          </a:xfrm>
          <a:prstGeom prst="rect">
            <a:avLst/>
          </a:prstGeom>
          <a:noFill/>
          <a:ln w="19050">
            <a:solidFill>
              <a:schemeClr val="tx1"/>
            </a:solidFill>
            <a:prstDash val="dash"/>
          </a:ln>
        </p:spPr>
        <p:txBody>
          <a:bodyPr wrap="square" rtlCol="0">
            <a:spAutoFit/>
          </a:bodyPr>
          <a:lstStyle/>
          <a:p>
            <a:endParaRPr lang="en-US" sz="1200" dirty="0"/>
          </a:p>
          <a:p>
            <a:pPr marL="171450" indent="-171450">
              <a:buFont typeface="Arial" panose="020B0604020202020204" pitchFamily="34" charset="0"/>
              <a:buChar char="•"/>
            </a:pPr>
            <a:r>
              <a:rPr lang="en-US" sz="1200" dirty="0"/>
              <a:t>The majority of house prices that are </a:t>
            </a:r>
            <a:r>
              <a:rPr lang="en-US" sz="1200" b="1" dirty="0"/>
              <a:t>$2MM or more </a:t>
            </a:r>
            <a:r>
              <a:rPr lang="en-US" sz="1200" dirty="0"/>
              <a:t>are located near water in the Seattle/Bellevue area and none exist in far south King county</a:t>
            </a:r>
          </a:p>
          <a:p>
            <a:endParaRPr lang="en-US" sz="1200" dirty="0"/>
          </a:p>
          <a:p>
            <a:pPr marL="171450" indent="-171450">
              <a:buFont typeface="Arial" panose="020B0604020202020204" pitchFamily="34" charset="0"/>
              <a:buChar char="•"/>
            </a:pPr>
            <a:r>
              <a:rPr lang="en-US" sz="1200" dirty="0"/>
              <a:t>The average price of waterfront homes is more than $1MM more than non-waterfront</a:t>
            </a:r>
          </a:p>
          <a:p>
            <a:endParaRPr lang="en-US" sz="1200" dirty="0"/>
          </a:p>
        </p:txBody>
      </p:sp>
      <p:sp>
        <p:nvSpPr>
          <p:cNvPr id="2" name="TextBox 1">
            <a:extLst>
              <a:ext uri="{FF2B5EF4-FFF2-40B4-BE49-F238E27FC236}">
                <a16:creationId xmlns:a16="http://schemas.microsoft.com/office/drawing/2014/main" id="{525B571C-D9A7-4777-8380-275AE8280C5A}"/>
              </a:ext>
            </a:extLst>
          </p:cNvPr>
          <p:cNvSpPr txBox="1"/>
          <p:nvPr/>
        </p:nvSpPr>
        <p:spPr>
          <a:xfrm>
            <a:off x="854169" y="922562"/>
            <a:ext cx="4380359" cy="369332"/>
          </a:xfrm>
          <a:prstGeom prst="rect">
            <a:avLst/>
          </a:prstGeom>
          <a:noFill/>
        </p:spPr>
        <p:txBody>
          <a:bodyPr wrap="square" rtlCol="0">
            <a:spAutoFit/>
          </a:bodyPr>
          <a:lstStyle/>
          <a:p>
            <a:r>
              <a:rPr lang="en-US" b="1" dirty="0">
                <a:solidFill>
                  <a:schemeClr val="tx1">
                    <a:lumMod val="75000"/>
                    <a:lumOff val="25000"/>
                  </a:schemeClr>
                </a:solidFill>
              </a:rPr>
              <a:t>Median Housing Price by Zip Code </a:t>
            </a:r>
          </a:p>
        </p:txBody>
      </p:sp>
      <p:sp>
        <p:nvSpPr>
          <p:cNvPr id="9" name="TextBox 8">
            <a:extLst>
              <a:ext uri="{FF2B5EF4-FFF2-40B4-BE49-F238E27FC236}">
                <a16:creationId xmlns:a16="http://schemas.microsoft.com/office/drawing/2014/main" id="{4551BD85-0029-4E7F-A977-0EDE43B7EA8A}"/>
              </a:ext>
            </a:extLst>
          </p:cNvPr>
          <p:cNvSpPr txBox="1"/>
          <p:nvPr/>
        </p:nvSpPr>
        <p:spPr>
          <a:xfrm>
            <a:off x="8106181" y="900662"/>
            <a:ext cx="2360881" cy="369332"/>
          </a:xfrm>
          <a:prstGeom prst="rect">
            <a:avLst/>
          </a:prstGeom>
          <a:noFill/>
        </p:spPr>
        <p:txBody>
          <a:bodyPr wrap="square" rtlCol="0">
            <a:spAutoFit/>
          </a:bodyPr>
          <a:lstStyle/>
          <a:p>
            <a:r>
              <a:rPr lang="en-US" b="1" dirty="0">
                <a:solidFill>
                  <a:schemeClr val="tx1">
                    <a:lumMod val="75000"/>
                    <a:lumOff val="25000"/>
                  </a:schemeClr>
                </a:solidFill>
              </a:rPr>
              <a:t>Homes $2MM+  </a:t>
            </a:r>
          </a:p>
        </p:txBody>
      </p:sp>
    </p:spTree>
    <p:extLst>
      <p:ext uri="{BB962C8B-B14F-4D97-AF65-F5344CB8AC3E}">
        <p14:creationId xmlns:p14="http://schemas.microsoft.com/office/powerpoint/2010/main" val="1795855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181398" y="156279"/>
            <a:ext cx="12010601" cy="461665"/>
          </a:xfrm>
          <a:prstGeom prst="rect">
            <a:avLst/>
          </a:prstGeom>
          <a:noFill/>
          <a:ln>
            <a:noFill/>
          </a:ln>
        </p:spPr>
        <p:txBody>
          <a:bodyPr spcFirstLastPara="1" wrap="square" lIns="0" tIns="0" rIns="0" bIns="0" anchor="t" anchorCtr="0">
            <a:spAutoFit/>
          </a:bodyPr>
          <a:lstStyle/>
          <a:p>
            <a:r>
              <a:rPr lang="en-US" sz="1500" dirty="0">
                <a:solidFill>
                  <a:srgbClr val="002060"/>
                </a:solidFill>
              </a:rPr>
              <a:t>A statistical </a:t>
            </a:r>
            <a:r>
              <a:rPr lang="en-US" sz="1500" dirty="0">
                <a:solidFill>
                  <a:srgbClr val="FF0000"/>
                </a:solidFill>
              </a:rPr>
              <a:t>correlation</a:t>
            </a:r>
            <a:r>
              <a:rPr lang="en-US" sz="1500" dirty="0">
                <a:solidFill>
                  <a:srgbClr val="002060"/>
                </a:solidFill>
              </a:rPr>
              <a:t> analysis with housing price further confirmed likely variables that stood out in the previous visual analysis as having a significantly positive relationship with housing price (lead by house square feet, high grade rating, and # of bathrooms).</a:t>
            </a:r>
            <a:endParaRPr sz="1500" dirty="0">
              <a:solidFill>
                <a:srgbClr val="002060"/>
              </a:solidFill>
            </a:endParaRPr>
          </a:p>
        </p:txBody>
      </p:sp>
      <p:sp>
        <p:nvSpPr>
          <p:cNvPr id="4" name="TextBox 3">
            <a:extLst>
              <a:ext uri="{FF2B5EF4-FFF2-40B4-BE49-F238E27FC236}">
                <a16:creationId xmlns:a16="http://schemas.microsoft.com/office/drawing/2014/main" id="{E2816C99-5E4F-4B2A-B5FC-EA3FE48BF2A8}"/>
              </a:ext>
            </a:extLst>
          </p:cNvPr>
          <p:cNvSpPr txBox="1"/>
          <p:nvPr/>
        </p:nvSpPr>
        <p:spPr>
          <a:xfrm>
            <a:off x="195690" y="915808"/>
            <a:ext cx="184731" cy="646331"/>
          </a:xfrm>
          <a:prstGeom prst="rect">
            <a:avLst/>
          </a:prstGeom>
          <a:noFill/>
        </p:spPr>
        <p:txBody>
          <a:bodyPr wrap="none" rtlCol="0">
            <a:spAutoFit/>
          </a:bodyPr>
          <a:lstStyle/>
          <a:p>
            <a:br>
              <a:rPr lang="en-US" dirty="0"/>
            </a:br>
            <a:endParaRPr lang="en-US" dirty="0"/>
          </a:p>
        </p:txBody>
      </p:sp>
      <p:sp>
        <p:nvSpPr>
          <p:cNvPr id="15" name="TextBox 14">
            <a:extLst>
              <a:ext uri="{FF2B5EF4-FFF2-40B4-BE49-F238E27FC236}">
                <a16:creationId xmlns:a16="http://schemas.microsoft.com/office/drawing/2014/main" id="{50340269-CCC7-4AAF-8F7D-7A557B8DDCBD}"/>
              </a:ext>
            </a:extLst>
          </p:cNvPr>
          <p:cNvSpPr txBox="1"/>
          <p:nvPr/>
        </p:nvSpPr>
        <p:spPr>
          <a:xfrm>
            <a:off x="195690" y="1238973"/>
            <a:ext cx="3853796" cy="4985980"/>
          </a:xfrm>
          <a:prstGeom prst="rect">
            <a:avLst/>
          </a:prstGeom>
          <a:noFill/>
        </p:spPr>
        <p:txBody>
          <a:bodyPr wrap="square" rtlCol="0">
            <a:spAutoFit/>
          </a:bodyPr>
          <a:lstStyle/>
          <a:p>
            <a:pPr marL="285750" indent="-285750">
              <a:buFont typeface="Arial" panose="020B0604020202020204" pitchFamily="34" charset="0"/>
              <a:buChar char="•"/>
            </a:pPr>
            <a:r>
              <a:rPr lang="en-US" sz="1200" dirty="0"/>
              <a:t>5 variables are strongly correlated with housing price (correlation coefficients &gt;= 0.5)</a:t>
            </a:r>
            <a:br>
              <a:rPr lang="en-US" sz="1200" dirty="0"/>
            </a:br>
            <a:endParaRPr lang="en-US" sz="1200" dirty="0"/>
          </a:p>
          <a:p>
            <a:pPr marL="742950" lvl="1" indent="-285750">
              <a:buFont typeface="Courier New" panose="02070309020205020404" pitchFamily="49" charset="0"/>
              <a:buChar char="o"/>
            </a:pPr>
            <a:r>
              <a:rPr lang="en-US" sz="1200" b="1" dirty="0" err="1"/>
              <a:t>sqft_living</a:t>
            </a:r>
            <a:r>
              <a:rPr lang="en-US" sz="1200" b="1" dirty="0"/>
              <a:t> </a:t>
            </a:r>
            <a:r>
              <a:rPr lang="en-US" sz="1200" dirty="0"/>
              <a:t>(0.7)	</a:t>
            </a:r>
          </a:p>
          <a:p>
            <a:pPr marL="742950" lvl="1" indent="-285750">
              <a:buFont typeface="Courier New" panose="02070309020205020404" pitchFamily="49" charset="0"/>
              <a:buChar char="o"/>
            </a:pPr>
            <a:r>
              <a:rPr lang="en-US" sz="1200" b="1" dirty="0" err="1"/>
              <a:t>sqft_above</a:t>
            </a:r>
            <a:r>
              <a:rPr lang="en-US" sz="1200" b="1" dirty="0"/>
              <a:t> </a:t>
            </a:r>
            <a:r>
              <a:rPr lang="en-US" sz="1200" dirty="0"/>
              <a:t>(0.61)</a:t>
            </a:r>
          </a:p>
          <a:p>
            <a:pPr marL="742950" lvl="1" indent="-285750">
              <a:buFont typeface="Courier New" panose="02070309020205020404" pitchFamily="49" charset="0"/>
              <a:buChar char="o"/>
            </a:pPr>
            <a:r>
              <a:rPr lang="en-US" sz="1200" b="1" dirty="0"/>
              <a:t>sqft_living15 </a:t>
            </a:r>
            <a:r>
              <a:rPr lang="en-US" sz="1200" dirty="0"/>
              <a:t>(0.59)</a:t>
            </a:r>
          </a:p>
          <a:p>
            <a:pPr marL="742950" lvl="1" indent="-285750">
              <a:buFont typeface="Courier New" panose="02070309020205020404" pitchFamily="49" charset="0"/>
              <a:buChar char="o"/>
            </a:pPr>
            <a:r>
              <a:rPr lang="en-US" sz="1200" b="1" dirty="0"/>
              <a:t>Grade_9_or_above </a:t>
            </a:r>
            <a:r>
              <a:rPr lang="en-US" sz="1200" dirty="0"/>
              <a:t>(0.57)</a:t>
            </a:r>
            <a:endParaRPr lang="en-US" sz="1200" b="1" dirty="0"/>
          </a:p>
          <a:p>
            <a:pPr marL="742950" lvl="1" indent="-285750">
              <a:buFont typeface="Courier New" panose="02070309020205020404" pitchFamily="49" charset="0"/>
              <a:buChar char="o"/>
            </a:pPr>
            <a:r>
              <a:rPr lang="en-US" sz="1200" b="1" dirty="0"/>
              <a:t># of bathrooms </a:t>
            </a:r>
            <a:r>
              <a:rPr lang="en-US" sz="1200" dirty="0"/>
              <a:t>(0.53)</a:t>
            </a:r>
            <a:br>
              <a:rPr lang="en-US" sz="1200" dirty="0"/>
            </a:br>
            <a:endParaRPr lang="en-US" sz="1200" dirty="0"/>
          </a:p>
          <a:p>
            <a:pPr marL="742950" lvl="1" indent="-285750">
              <a:buFont typeface="Courier New" panose="02070309020205020404" pitchFamily="49" charset="0"/>
              <a:buChar char="o"/>
            </a:pPr>
            <a:endParaRPr lang="en-US" sz="1200" dirty="0"/>
          </a:p>
          <a:p>
            <a:pPr marL="285750" indent="-285750">
              <a:buFont typeface="Arial" panose="020B0604020202020204" pitchFamily="34" charset="0"/>
              <a:buChar char="•"/>
            </a:pPr>
            <a:r>
              <a:rPr lang="en-US" sz="1200" dirty="0"/>
              <a:t>3 variables are moderately correlated with housing price (correlation coefficients &gt;= 0.3)</a:t>
            </a:r>
            <a:br>
              <a:rPr lang="en-US" sz="1200" dirty="0"/>
            </a:br>
            <a:endParaRPr lang="en-US" sz="1200" dirty="0"/>
          </a:p>
          <a:p>
            <a:pPr marL="742950" lvl="1" indent="-285750">
              <a:buFont typeface="Courier New" panose="02070309020205020404" pitchFamily="49" charset="0"/>
              <a:buChar char="o"/>
            </a:pPr>
            <a:r>
              <a:rPr lang="en-US" sz="1200" b="1" dirty="0"/>
              <a:t># of bedrooms </a:t>
            </a:r>
            <a:r>
              <a:rPr lang="en-US" sz="1200" dirty="0"/>
              <a:t>(0.32)</a:t>
            </a:r>
          </a:p>
          <a:p>
            <a:pPr marL="742950" lvl="1" indent="-285750">
              <a:buFont typeface="Courier New" panose="02070309020205020404" pitchFamily="49" charset="0"/>
              <a:buChar char="o"/>
            </a:pPr>
            <a:r>
              <a:rPr lang="en-US" sz="1200" b="1" dirty="0" err="1"/>
              <a:t>sqft_basement</a:t>
            </a:r>
            <a:r>
              <a:rPr lang="en-US" sz="1200" b="1" dirty="0"/>
              <a:t> </a:t>
            </a:r>
            <a:r>
              <a:rPr lang="en-US" sz="1200" dirty="0"/>
              <a:t>(0.32)</a:t>
            </a:r>
          </a:p>
          <a:p>
            <a:pPr marL="742950" lvl="1" indent="-285750">
              <a:buFont typeface="Courier New" panose="02070309020205020404" pitchFamily="49" charset="0"/>
              <a:buChar char="o"/>
            </a:pPr>
            <a:r>
              <a:rPr lang="en-US" sz="1200" b="1" dirty="0"/>
              <a:t>latitude</a:t>
            </a:r>
            <a:r>
              <a:rPr lang="en-US" sz="1200" dirty="0"/>
              <a:t> (0.31)</a:t>
            </a:r>
            <a:br>
              <a:rPr lang="en-US" sz="1200" dirty="0"/>
            </a:br>
            <a:endParaRPr lang="en-US" sz="1200" dirty="0"/>
          </a:p>
          <a:p>
            <a:pPr lvl="1"/>
            <a:endParaRPr lang="en-US" sz="1200" dirty="0"/>
          </a:p>
          <a:p>
            <a:pPr marL="171450" indent="-171450">
              <a:buFont typeface="Arial" panose="020B0604020202020204" pitchFamily="34" charset="0"/>
              <a:buChar char="•"/>
            </a:pPr>
            <a:r>
              <a:rPr lang="en-US" sz="1200" dirty="0"/>
              <a:t>Echoing the descriptive stats scatterplots, </a:t>
            </a:r>
            <a:r>
              <a:rPr lang="en-US" sz="1200" b="1" dirty="0"/>
              <a:t>lot size</a:t>
            </a:r>
            <a:r>
              <a:rPr lang="en-US" sz="1200" dirty="0"/>
              <a:t>, </a:t>
            </a:r>
            <a:r>
              <a:rPr lang="en-US" sz="1200" b="1" dirty="0" err="1"/>
              <a:t>longitude</a:t>
            </a:r>
            <a:r>
              <a:rPr lang="en-US" sz="1200" dirty="0" err="1"/>
              <a:t>,and</a:t>
            </a:r>
            <a:r>
              <a:rPr lang="en-US" sz="1200" dirty="0"/>
              <a:t> </a:t>
            </a:r>
            <a:r>
              <a:rPr lang="en-US" sz="1200" b="1" dirty="0"/>
              <a:t>age </a:t>
            </a:r>
            <a:r>
              <a:rPr lang="en-US" sz="1200" dirty="0"/>
              <a:t>show little correlation with price and therefore are likely not good housing price predictors.  While </a:t>
            </a:r>
            <a:r>
              <a:rPr lang="en-US" sz="1200" b="1" dirty="0"/>
              <a:t>condition</a:t>
            </a:r>
            <a:r>
              <a:rPr lang="en-US" sz="1200" dirty="0"/>
              <a:t> showed a visual positive relationship to price in scatterplots, it shows a weak statistical correlation.</a:t>
            </a:r>
            <a:endParaRPr lang="en-US" sz="1200" b="1" dirty="0"/>
          </a:p>
          <a:p>
            <a:pPr lvl="1"/>
            <a:endParaRPr lang="en-US" sz="1200" dirty="0"/>
          </a:p>
          <a:p>
            <a:pPr marL="742950" lvl="1" indent="-285750">
              <a:buFont typeface="Courier New" panose="02070309020205020404" pitchFamily="49" charset="0"/>
              <a:buChar char="o"/>
            </a:pPr>
            <a:endParaRPr lang="en-US" dirty="0"/>
          </a:p>
        </p:txBody>
      </p:sp>
      <p:pic>
        <p:nvPicPr>
          <p:cNvPr id="6" name="Picture 5">
            <a:extLst>
              <a:ext uri="{FF2B5EF4-FFF2-40B4-BE49-F238E27FC236}">
                <a16:creationId xmlns:a16="http://schemas.microsoft.com/office/drawing/2014/main" id="{95CD2CC1-07A3-4CEB-8FA5-4782B330213F}"/>
              </a:ext>
            </a:extLst>
          </p:cNvPr>
          <p:cNvPicPr>
            <a:picLocks noChangeAspect="1"/>
          </p:cNvPicPr>
          <p:nvPr/>
        </p:nvPicPr>
        <p:blipFill>
          <a:blip r:embed="rId3"/>
          <a:stretch>
            <a:fillRect/>
          </a:stretch>
        </p:blipFill>
        <p:spPr>
          <a:xfrm>
            <a:off x="5060884" y="1146739"/>
            <a:ext cx="6935426" cy="4442298"/>
          </a:xfrm>
          <a:prstGeom prst="rect">
            <a:avLst/>
          </a:prstGeom>
          <a:ln>
            <a:solidFill>
              <a:schemeClr val="tx1"/>
            </a:solidFill>
          </a:ln>
        </p:spPr>
      </p:pic>
      <p:sp>
        <p:nvSpPr>
          <p:cNvPr id="8" name="Google Shape;77;p8">
            <a:extLst>
              <a:ext uri="{FF2B5EF4-FFF2-40B4-BE49-F238E27FC236}">
                <a16:creationId xmlns:a16="http://schemas.microsoft.com/office/drawing/2014/main" id="{EDBE4289-AB2A-416A-A021-82DCF7446541}"/>
              </a:ext>
            </a:extLst>
          </p:cNvPr>
          <p:cNvSpPr/>
          <p:nvPr/>
        </p:nvSpPr>
        <p:spPr>
          <a:xfrm>
            <a:off x="72627" y="6425048"/>
            <a:ext cx="2033713"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sp>
        <p:nvSpPr>
          <p:cNvPr id="11" name="Rectangle 10">
            <a:extLst>
              <a:ext uri="{FF2B5EF4-FFF2-40B4-BE49-F238E27FC236}">
                <a16:creationId xmlns:a16="http://schemas.microsoft.com/office/drawing/2014/main" id="{8CC9364B-7ABA-4CDC-93D5-86D221E30998}"/>
              </a:ext>
            </a:extLst>
          </p:cNvPr>
          <p:cNvSpPr/>
          <p:nvPr/>
        </p:nvSpPr>
        <p:spPr>
          <a:xfrm>
            <a:off x="181398" y="1166240"/>
            <a:ext cx="4073361" cy="5038617"/>
          </a:xfrm>
          <a:prstGeom prst="rect">
            <a:avLst/>
          </a:prstGeom>
          <a:noFill/>
          <a:ln w="222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3C40ADA-6CD5-498A-9CD6-5F40D4A77124}"/>
              </a:ext>
            </a:extLst>
          </p:cNvPr>
          <p:cNvSpPr txBox="1"/>
          <p:nvPr/>
        </p:nvSpPr>
        <p:spPr>
          <a:xfrm>
            <a:off x="4627984" y="6227294"/>
            <a:ext cx="6870792" cy="461665"/>
          </a:xfrm>
          <a:prstGeom prst="rect">
            <a:avLst/>
          </a:prstGeom>
          <a:noFill/>
        </p:spPr>
        <p:txBody>
          <a:bodyPr wrap="none" rtlCol="0">
            <a:spAutoFit/>
          </a:bodyPr>
          <a:lstStyle/>
          <a:p>
            <a:r>
              <a:rPr lang="en-US" sz="1200" b="1" dirty="0"/>
              <a:t>Note:  </a:t>
            </a:r>
            <a:r>
              <a:rPr lang="en-US" sz="1200" dirty="0"/>
              <a:t>Certain non-continuous variables like grade and condition were binned into groupings as </a:t>
            </a:r>
            <a:br>
              <a:rPr lang="en-US" sz="1200" dirty="0"/>
            </a:br>
            <a:r>
              <a:rPr lang="en-US" sz="1200" dirty="0"/>
              <a:t>categorical (“dummy”) variables (ex: Grade_9_or_above) for usage in correlation and regression   </a:t>
            </a:r>
          </a:p>
        </p:txBody>
      </p:sp>
    </p:spTree>
    <p:extLst>
      <p:ext uri="{BB962C8B-B14F-4D97-AF65-F5344CB8AC3E}">
        <p14:creationId xmlns:p14="http://schemas.microsoft.com/office/powerpoint/2010/main" val="1674657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192832" y="143675"/>
            <a:ext cx="11756793" cy="646331"/>
          </a:xfrm>
          <a:prstGeom prst="rect">
            <a:avLst/>
          </a:prstGeom>
          <a:noFill/>
          <a:ln>
            <a:noFill/>
          </a:ln>
        </p:spPr>
        <p:txBody>
          <a:bodyPr spcFirstLastPara="1" wrap="square" lIns="0" tIns="0" rIns="0" bIns="0" anchor="t" anchorCtr="0">
            <a:spAutoFit/>
          </a:bodyPr>
          <a:lstStyle/>
          <a:p>
            <a:r>
              <a:rPr lang="en-US" sz="1400" dirty="0">
                <a:solidFill>
                  <a:srgbClr val="002060"/>
                </a:solidFill>
              </a:rPr>
              <a:t>A </a:t>
            </a:r>
            <a:r>
              <a:rPr lang="en-US" sz="1400" dirty="0">
                <a:solidFill>
                  <a:srgbClr val="FF0000"/>
                </a:solidFill>
              </a:rPr>
              <a:t>multiple</a:t>
            </a:r>
            <a:r>
              <a:rPr lang="en-US" sz="1400" dirty="0">
                <a:solidFill>
                  <a:srgbClr val="002060"/>
                </a:solidFill>
              </a:rPr>
              <a:t> </a:t>
            </a:r>
            <a:r>
              <a:rPr lang="en-US" sz="1400" dirty="0">
                <a:solidFill>
                  <a:srgbClr val="FF0000"/>
                </a:solidFill>
              </a:rPr>
              <a:t>linear regression model </a:t>
            </a:r>
            <a:r>
              <a:rPr lang="en-US" sz="1400" dirty="0">
                <a:solidFill>
                  <a:srgbClr val="002060"/>
                </a:solidFill>
              </a:rPr>
              <a:t>incorporated multiple variables most likely to influence housing price (while excluding those with weaker relationships for simplicity) and resulted in a R Square value of </a:t>
            </a:r>
            <a:r>
              <a:rPr lang="en-US" sz="1400" dirty="0">
                <a:solidFill>
                  <a:srgbClr val="FF0000"/>
                </a:solidFill>
              </a:rPr>
              <a:t>0.632 </a:t>
            </a:r>
            <a:r>
              <a:rPr lang="en-US" sz="1400" dirty="0">
                <a:solidFill>
                  <a:srgbClr val="002060"/>
                </a:solidFill>
              </a:rPr>
              <a:t> (63.2% of price variability explained by the input variables).  This is more accurate than a </a:t>
            </a:r>
            <a:r>
              <a:rPr lang="en-US" sz="1400" dirty="0">
                <a:solidFill>
                  <a:srgbClr val="FF0000"/>
                </a:solidFill>
              </a:rPr>
              <a:t>simple </a:t>
            </a:r>
            <a:r>
              <a:rPr lang="en-US" sz="1400" dirty="0">
                <a:solidFill>
                  <a:srgbClr val="002060"/>
                </a:solidFill>
              </a:rPr>
              <a:t>linear regression only involving the highest correlated variable (</a:t>
            </a:r>
            <a:r>
              <a:rPr lang="en-US" sz="1400" dirty="0" err="1">
                <a:solidFill>
                  <a:srgbClr val="002060"/>
                </a:solidFill>
              </a:rPr>
              <a:t>sq</a:t>
            </a:r>
            <a:r>
              <a:rPr lang="en-US" sz="1400" dirty="0">
                <a:solidFill>
                  <a:srgbClr val="002060"/>
                </a:solidFill>
              </a:rPr>
              <a:t> feet living).</a:t>
            </a:r>
            <a:endParaRPr sz="1400" dirty="0">
              <a:solidFill>
                <a:srgbClr val="002060"/>
              </a:solidFill>
            </a:endParaRPr>
          </a:p>
        </p:txBody>
      </p:sp>
      <p:sp>
        <p:nvSpPr>
          <p:cNvPr id="4" name="TextBox 3">
            <a:extLst>
              <a:ext uri="{FF2B5EF4-FFF2-40B4-BE49-F238E27FC236}">
                <a16:creationId xmlns:a16="http://schemas.microsoft.com/office/drawing/2014/main" id="{E2816C99-5E4F-4B2A-B5FC-EA3FE48BF2A8}"/>
              </a:ext>
            </a:extLst>
          </p:cNvPr>
          <p:cNvSpPr txBox="1"/>
          <p:nvPr/>
        </p:nvSpPr>
        <p:spPr>
          <a:xfrm>
            <a:off x="195690" y="915808"/>
            <a:ext cx="184731" cy="646331"/>
          </a:xfrm>
          <a:prstGeom prst="rect">
            <a:avLst/>
          </a:prstGeom>
          <a:noFill/>
        </p:spPr>
        <p:txBody>
          <a:bodyPr wrap="none" rtlCol="0">
            <a:spAutoFit/>
          </a:bodyPr>
          <a:lstStyle/>
          <a:p>
            <a:br>
              <a:rPr lang="en-US" dirty="0"/>
            </a:br>
            <a:endParaRPr lang="en-US" dirty="0"/>
          </a:p>
        </p:txBody>
      </p:sp>
      <p:sp>
        <p:nvSpPr>
          <p:cNvPr id="7" name="TextBox 6">
            <a:extLst>
              <a:ext uri="{FF2B5EF4-FFF2-40B4-BE49-F238E27FC236}">
                <a16:creationId xmlns:a16="http://schemas.microsoft.com/office/drawing/2014/main" id="{87A42A02-533C-4B86-86B7-9E67A8C4FF7B}"/>
              </a:ext>
            </a:extLst>
          </p:cNvPr>
          <p:cNvSpPr txBox="1"/>
          <p:nvPr/>
        </p:nvSpPr>
        <p:spPr>
          <a:xfrm>
            <a:off x="195688" y="1075079"/>
            <a:ext cx="6223773" cy="5324535"/>
          </a:xfrm>
          <a:prstGeom prst="rect">
            <a:avLst/>
          </a:prstGeom>
          <a:noFill/>
          <a:ln>
            <a:solidFill>
              <a:schemeClr val="tx1"/>
            </a:solidFill>
            <a:prstDash val="dash"/>
          </a:ln>
        </p:spPr>
        <p:txBody>
          <a:bodyPr wrap="square" rtlCol="0">
            <a:spAutoFit/>
          </a:bodyPr>
          <a:lstStyle/>
          <a:p>
            <a:r>
              <a:rPr lang="en-US" sz="1400" b="1" dirty="0"/>
              <a:t>Variables chosen for final regression model:</a:t>
            </a:r>
          </a:p>
          <a:p>
            <a:endParaRPr lang="en-US" sz="1400" b="1" dirty="0"/>
          </a:p>
          <a:p>
            <a:pPr marL="285750" indent="-285750">
              <a:buFont typeface="Arial" panose="020B0604020202020204" pitchFamily="34" charset="0"/>
              <a:buChar char="•"/>
            </a:pPr>
            <a:r>
              <a:rPr lang="en-US" sz="1200" b="1" dirty="0"/>
              <a:t># of bedrooms</a:t>
            </a:r>
          </a:p>
          <a:p>
            <a:pPr marL="285750" indent="-285750">
              <a:buFont typeface="Arial" panose="020B0604020202020204" pitchFamily="34" charset="0"/>
              <a:buChar char="•"/>
            </a:pPr>
            <a:r>
              <a:rPr lang="en-US" sz="1200" b="1" dirty="0"/>
              <a:t># of bathrooms</a:t>
            </a:r>
          </a:p>
          <a:p>
            <a:pPr marL="285750" indent="-285750">
              <a:buFont typeface="Arial" panose="020B0604020202020204" pitchFamily="34" charset="0"/>
              <a:buChar char="•"/>
            </a:pPr>
            <a:r>
              <a:rPr lang="en-US" sz="1200" b="1" dirty="0" err="1"/>
              <a:t>sqft_living</a:t>
            </a:r>
            <a:endParaRPr lang="en-US" sz="1200" b="1" dirty="0"/>
          </a:p>
          <a:p>
            <a:pPr marL="285750" indent="-285750">
              <a:buFont typeface="Arial" panose="020B0604020202020204" pitchFamily="34" charset="0"/>
              <a:buChar char="•"/>
            </a:pPr>
            <a:r>
              <a:rPr lang="en-US" sz="1200" b="1" dirty="0"/>
              <a:t>latitude</a:t>
            </a:r>
          </a:p>
          <a:p>
            <a:pPr marL="285750" indent="-285750">
              <a:buFont typeface="Arial" panose="020B0604020202020204" pitchFamily="34" charset="0"/>
              <a:buChar char="•"/>
            </a:pPr>
            <a:r>
              <a:rPr lang="en-US" sz="1200" b="1" dirty="0"/>
              <a:t>sqft_living_15 (</a:t>
            </a:r>
            <a:r>
              <a:rPr lang="en-US" sz="1200" b="1" dirty="0" err="1"/>
              <a:t>sqft</a:t>
            </a:r>
            <a:r>
              <a:rPr lang="en-US" sz="1200" b="1" dirty="0"/>
              <a:t> of nearest 15 neighbors)</a:t>
            </a:r>
          </a:p>
          <a:p>
            <a:pPr marL="285750" indent="-285750">
              <a:buFont typeface="Arial" panose="020B0604020202020204" pitchFamily="34" charset="0"/>
              <a:buChar char="•"/>
            </a:pPr>
            <a:r>
              <a:rPr lang="en-US" sz="1200" b="1" dirty="0"/>
              <a:t>waterfront (yes or no)</a:t>
            </a:r>
          </a:p>
          <a:p>
            <a:pPr marL="285750" indent="-285750">
              <a:buFont typeface="Arial" panose="020B0604020202020204" pitchFamily="34" charset="0"/>
              <a:buChar char="•"/>
            </a:pPr>
            <a:r>
              <a:rPr lang="en-US" sz="1200" b="1" dirty="0"/>
              <a:t>Grade_9_or_above (construction quality)</a:t>
            </a:r>
          </a:p>
          <a:p>
            <a:endParaRPr lang="en-US" sz="1400" dirty="0"/>
          </a:p>
          <a:p>
            <a:r>
              <a:rPr lang="en-US" sz="1200" dirty="0"/>
              <a:t>All chosen variables have extremely low </a:t>
            </a:r>
            <a:r>
              <a:rPr lang="en-US" sz="1200" b="1" dirty="0"/>
              <a:t>P-values</a:t>
            </a:r>
            <a:br>
              <a:rPr lang="en-US" sz="1200" dirty="0"/>
            </a:br>
            <a:r>
              <a:rPr lang="en-US" sz="1200" dirty="0"/>
              <a:t>(well below 0.05) indicating they are statistically significant.</a:t>
            </a:r>
            <a:br>
              <a:rPr lang="en-US" sz="1400" dirty="0"/>
            </a:br>
            <a:r>
              <a:rPr lang="en-US" sz="1400" dirty="0"/>
              <a:t>  </a:t>
            </a:r>
          </a:p>
          <a:p>
            <a:r>
              <a:rPr lang="en-US" sz="1400" b="1" dirty="0"/>
              <a:t>Variables were NOT chosen for final regression model if they didn’t materially affect R Square or presented other precision issues:</a:t>
            </a:r>
          </a:p>
          <a:p>
            <a:endParaRPr lang="en-US" sz="1200" b="1" dirty="0"/>
          </a:p>
          <a:p>
            <a:pPr marL="285750" indent="-285750">
              <a:buFont typeface="Arial" panose="020B0604020202020204" pitchFamily="34" charset="0"/>
              <a:buChar char="•"/>
            </a:pPr>
            <a:r>
              <a:rPr lang="en-US" sz="1200" dirty="0"/>
              <a:t>lot size, age, longitude, floors, condition, renovation (low price correlation/relationship)</a:t>
            </a:r>
            <a:br>
              <a:rPr lang="en-US" sz="1200" dirty="0"/>
            </a:br>
            <a:endParaRPr lang="en-US" sz="1200" dirty="0"/>
          </a:p>
          <a:p>
            <a:pPr marL="285750" indent="-285750">
              <a:buFont typeface="Arial" panose="020B0604020202020204" pitchFamily="34" charset="0"/>
              <a:buChar char="•"/>
            </a:pPr>
            <a:r>
              <a:rPr lang="en-US" sz="1200" dirty="0" err="1"/>
              <a:t>sqft_basement</a:t>
            </a:r>
            <a:r>
              <a:rPr lang="en-US" sz="1200" dirty="0"/>
              <a:t> and </a:t>
            </a:r>
            <a:r>
              <a:rPr lang="en-US" sz="1200" dirty="0" err="1"/>
              <a:t>sqft_above</a:t>
            </a:r>
            <a:r>
              <a:rPr lang="en-US" sz="1200" dirty="0"/>
              <a:t> (did not significantly affect regression r square and are highly correlated with </a:t>
            </a:r>
            <a:r>
              <a:rPr lang="en-US" sz="1200" dirty="0" err="1"/>
              <a:t>sqft_living</a:t>
            </a:r>
            <a:r>
              <a:rPr lang="en-US" sz="1200" dirty="0"/>
              <a:t> which could result in overfitting, so opted to just use </a:t>
            </a:r>
            <a:r>
              <a:rPr lang="en-US" sz="1200" dirty="0" err="1"/>
              <a:t>sqft_living</a:t>
            </a:r>
            <a:r>
              <a:rPr lang="en-US" sz="1200" dirty="0"/>
              <a:t> for model simplicity) </a:t>
            </a:r>
            <a:br>
              <a:rPr lang="en-US" sz="1200" dirty="0"/>
            </a:br>
            <a:endParaRPr lang="en-US" sz="1200" dirty="0"/>
          </a:p>
          <a:p>
            <a:pPr marL="285750" indent="-285750">
              <a:buFont typeface="Arial" panose="020B0604020202020204" pitchFamily="34" charset="0"/>
              <a:buChar char="•"/>
            </a:pPr>
            <a:r>
              <a:rPr lang="en-US" sz="1200" dirty="0"/>
              <a:t>Grades less than 9 (high P-Value minimizes statistical significance and didn’t materially increase r square)</a:t>
            </a:r>
          </a:p>
          <a:p>
            <a:endParaRPr lang="en-US" sz="1400" dirty="0"/>
          </a:p>
          <a:p>
            <a:pPr marL="285750" indent="-285750">
              <a:buFont typeface="Arial" panose="020B0604020202020204" pitchFamily="34" charset="0"/>
              <a:buChar char="•"/>
            </a:pPr>
            <a:endParaRPr lang="en-US" sz="1400" dirty="0"/>
          </a:p>
        </p:txBody>
      </p:sp>
      <p:pic>
        <p:nvPicPr>
          <p:cNvPr id="2" name="Picture 1">
            <a:extLst>
              <a:ext uri="{FF2B5EF4-FFF2-40B4-BE49-F238E27FC236}">
                <a16:creationId xmlns:a16="http://schemas.microsoft.com/office/drawing/2014/main" id="{4DC9B2A6-3E89-4E86-AC5A-C2A9AFD3E1E2}"/>
              </a:ext>
            </a:extLst>
          </p:cNvPr>
          <p:cNvPicPr>
            <a:picLocks noChangeAspect="1"/>
          </p:cNvPicPr>
          <p:nvPr/>
        </p:nvPicPr>
        <p:blipFill>
          <a:blip r:embed="rId3"/>
          <a:stretch>
            <a:fillRect/>
          </a:stretch>
        </p:blipFill>
        <p:spPr>
          <a:xfrm>
            <a:off x="6863438" y="1296546"/>
            <a:ext cx="5151086" cy="3051638"/>
          </a:xfrm>
          <a:prstGeom prst="rect">
            <a:avLst/>
          </a:prstGeom>
          <a:ln>
            <a:solidFill>
              <a:schemeClr val="tx1"/>
            </a:solidFill>
          </a:ln>
        </p:spPr>
      </p:pic>
      <p:sp>
        <p:nvSpPr>
          <p:cNvPr id="6" name="Google Shape;77;p8">
            <a:extLst>
              <a:ext uri="{FF2B5EF4-FFF2-40B4-BE49-F238E27FC236}">
                <a16:creationId xmlns:a16="http://schemas.microsoft.com/office/drawing/2014/main" id="{5F7B8F06-109D-410A-A12F-A60503FEB7E6}"/>
              </a:ext>
            </a:extLst>
          </p:cNvPr>
          <p:cNvSpPr/>
          <p:nvPr/>
        </p:nvSpPr>
        <p:spPr>
          <a:xfrm>
            <a:off x="-27975" y="6477757"/>
            <a:ext cx="2033713"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pic>
        <p:nvPicPr>
          <p:cNvPr id="3" name="Picture 2">
            <a:extLst>
              <a:ext uri="{FF2B5EF4-FFF2-40B4-BE49-F238E27FC236}">
                <a16:creationId xmlns:a16="http://schemas.microsoft.com/office/drawing/2014/main" id="{767CBD9E-7214-4291-92A1-196DB81E8BB2}"/>
              </a:ext>
            </a:extLst>
          </p:cNvPr>
          <p:cNvPicPr>
            <a:picLocks noChangeAspect="1"/>
          </p:cNvPicPr>
          <p:nvPr/>
        </p:nvPicPr>
        <p:blipFill>
          <a:blip r:embed="rId4"/>
          <a:stretch>
            <a:fillRect/>
          </a:stretch>
        </p:blipFill>
        <p:spPr>
          <a:xfrm>
            <a:off x="7638415" y="4977480"/>
            <a:ext cx="3564703" cy="1774406"/>
          </a:xfrm>
          <a:prstGeom prst="rect">
            <a:avLst/>
          </a:prstGeom>
        </p:spPr>
      </p:pic>
      <p:sp>
        <p:nvSpPr>
          <p:cNvPr id="5" name="TextBox 4">
            <a:extLst>
              <a:ext uri="{FF2B5EF4-FFF2-40B4-BE49-F238E27FC236}">
                <a16:creationId xmlns:a16="http://schemas.microsoft.com/office/drawing/2014/main" id="{988E07B1-9E28-4736-8047-E26A2665471F}"/>
              </a:ext>
            </a:extLst>
          </p:cNvPr>
          <p:cNvSpPr txBox="1"/>
          <p:nvPr/>
        </p:nvSpPr>
        <p:spPr>
          <a:xfrm>
            <a:off x="7169149" y="4607733"/>
            <a:ext cx="4931158" cy="276999"/>
          </a:xfrm>
          <a:prstGeom prst="rect">
            <a:avLst/>
          </a:prstGeom>
          <a:noFill/>
        </p:spPr>
        <p:txBody>
          <a:bodyPr wrap="none" rtlCol="0">
            <a:spAutoFit/>
          </a:bodyPr>
          <a:lstStyle/>
          <a:p>
            <a:r>
              <a:rPr lang="en-US" sz="1200" b="1" dirty="0"/>
              <a:t>“Simple” regression with only </a:t>
            </a:r>
            <a:r>
              <a:rPr lang="en-US" sz="1200" b="1" dirty="0" err="1"/>
              <a:t>sqft_living</a:t>
            </a:r>
            <a:r>
              <a:rPr lang="en-US" sz="1200" b="1" dirty="0"/>
              <a:t> variable: 0.49 R Square</a:t>
            </a:r>
          </a:p>
        </p:txBody>
      </p:sp>
      <p:sp>
        <p:nvSpPr>
          <p:cNvPr id="8" name="Rectangle 7">
            <a:extLst>
              <a:ext uri="{FF2B5EF4-FFF2-40B4-BE49-F238E27FC236}">
                <a16:creationId xmlns:a16="http://schemas.microsoft.com/office/drawing/2014/main" id="{23475D6C-E919-4B1B-BDA8-B4D9C70723F9}"/>
              </a:ext>
            </a:extLst>
          </p:cNvPr>
          <p:cNvSpPr/>
          <p:nvPr/>
        </p:nvSpPr>
        <p:spPr>
          <a:xfrm>
            <a:off x="6731350" y="4607733"/>
            <a:ext cx="5263082" cy="2144153"/>
          </a:xfrm>
          <a:prstGeom prst="rect">
            <a:avLst/>
          </a:prstGeom>
          <a:noFill/>
          <a:ln w="22225">
            <a:solidFill>
              <a:schemeClr val="tx1"/>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FACB0526-238A-4B58-AC98-9125261658D9}"/>
              </a:ext>
            </a:extLst>
          </p:cNvPr>
          <p:cNvSpPr txBox="1"/>
          <p:nvPr/>
        </p:nvSpPr>
        <p:spPr>
          <a:xfrm>
            <a:off x="6973556" y="1019547"/>
            <a:ext cx="5120312" cy="276999"/>
          </a:xfrm>
          <a:prstGeom prst="rect">
            <a:avLst/>
          </a:prstGeom>
          <a:noFill/>
        </p:spPr>
        <p:txBody>
          <a:bodyPr wrap="none" rtlCol="0">
            <a:spAutoFit/>
          </a:bodyPr>
          <a:lstStyle/>
          <a:p>
            <a:r>
              <a:rPr lang="en-US" sz="1200" b="1" dirty="0"/>
              <a:t>Multiple regression incorporating chosen variables: 0.632 R Square</a:t>
            </a:r>
          </a:p>
        </p:txBody>
      </p:sp>
      <p:sp>
        <p:nvSpPr>
          <p:cNvPr id="11" name="Rectangle 10">
            <a:extLst>
              <a:ext uri="{FF2B5EF4-FFF2-40B4-BE49-F238E27FC236}">
                <a16:creationId xmlns:a16="http://schemas.microsoft.com/office/drawing/2014/main" id="{519A7259-7ACB-4CB5-A811-388F95692858}"/>
              </a:ext>
            </a:extLst>
          </p:cNvPr>
          <p:cNvSpPr/>
          <p:nvPr/>
        </p:nvSpPr>
        <p:spPr>
          <a:xfrm>
            <a:off x="6731349" y="1019547"/>
            <a:ext cx="5368958" cy="3403163"/>
          </a:xfrm>
          <a:prstGeom prst="rect">
            <a:avLst/>
          </a:prstGeom>
          <a:noFill/>
          <a:ln w="22225">
            <a:solidFill>
              <a:schemeClr val="tx1"/>
            </a:solidFill>
          </a:ln>
          <a:effectLst>
            <a:outerShdw blurRad="50800" dist="50800" dir="5400000" sx="1000" sy="1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5546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5B8E1-5616-421E-A6AB-97DE892DA913}"/>
              </a:ext>
            </a:extLst>
          </p:cNvPr>
          <p:cNvSpPr>
            <a:spLocks noGrp="1"/>
          </p:cNvSpPr>
          <p:nvPr>
            <p:ph type="title"/>
          </p:nvPr>
        </p:nvSpPr>
        <p:spPr>
          <a:xfrm>
            <a:off x="382550" y="2936557"/>
            <a:ext cx="11725486" cy="492443"/>
          </a:xfrm>
        </p:spPr>
        <p:txBody>
          <a:bodyPr/>
          <a:lstStyle/>
          <a:p>
            <a:pPr algn="ctr"/>
            <a:r>
              <a:rPr lang="en-US" sz="3200" dirty="0">
                <a:solidFill>
                  <a:schemeClr val="tx1">
                    <a:lumMod val="90000"/>
                    <a:lumOff val="10000"/>
                  </a:schemeClr>
                </a:solidFill>
              </a:rPr>
              <a:t>Appendix – King County Housing Descriptive Statistics</a:t>
            </a:r>
          </a:p>
        </p:txBody>
      </p:sp>
    </p:spTree>
    <p:extLst>
      <p:ext uri="{BB962C8B-B14F-4D97-AF65-F5344CB8AC3E}">
        <p14:creationId xmlns:p14="http://schemas.microsoft.com/office/powerpoint/2010/main" val="1591983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239516" y="218945"/>
            <a:ext cx="11784569" cy="461665"/>
          </a:xfrm>
          <a:prstGeom prst="rect">
            <a:avLst/>
          </a:prstGeom>
          <a:noFill/>
          <a:ln>
            <a:noFill/>
          </a:ln>
        </p:spPr>
        <p:txBody>
          <a:bodyPr spcFirstLastPara="1" wrap="square" lIns="0" tIns="0" rIns="0" bIns="0" anchor="t" anchorCtr="0">
            <a:spAutoFit/>
          </a:bodyPr>
          <a:lstStyle/>
          <a:p>
            <a:r>
              <a:rPr lang="en-US" sz="1500" dirty="0">
                <a:solidFill>
                  <a:srgbClr val="002060"/>
                </a:solidFill>
              </a:rPr>
              <a:t>King county housing price – the dependent variable – is $540k on average and is highly positive skewed related to statistical outliers over $1.3 M</a:t>
            </a:r>
            <a:endParaRPr sz="1500" dirty="0">
              <a:solidFill>
                <a:srgbClr val="002060"/>
              </a:solidFill>
            </a:endParaRPr>
          </a:p>
        </p:txBody>
      </p:sp>
      <p:sp>
        <p:nvSpPr>
          <p:cNvPr id="4" name="TextBox 3">
            <a:extLst>
              <a:ext uri="{FF2B5EF4-FFF2-40B4-BE49-F238E27FC236}">
                <a16:creationId xmlns:a16="http://schemas.microsoft.com/office/drawing/2014/main" id="{E2816C99-5E4F-4B2A-B5FC-EA3FE48BF2A8}"/>
              </a:ext>
            </a:extLst>
          </p:cNvPr>
          <p:cNvSpPr txBox="1"/>
          <p:nvPr/>
        </p:nvSpPr>
        <p:spPr>
          <a:xfrm>
            <a:off x="195690" y="915808"/>
            <a:ext cx="5211683" cy="923330"/>
          </a:xfrm>
          <a:prstGeom prst="rect">
            <a:avLst/>
          </a:prstGeom>
          <a:noFill/>
        </p:spPr>
        <p:txBody>
          <a:bodyPr wrap="none" rtlCol="0">
            <a:spAutoFit/>
          </a:bodyPr>
          <a:lstStyle/>
          <a:p>
            <a:br>
              <a:rPr lang="en-US" dirty="0"/>
            </a:br>
            <a:endParaRPr lang="en-US" dirty="0"/>
          </a:p>
          <a:p>
            <a:r>
              <a:rPr lang="en-US" dirty="0"/>
              <a:t>Key Descriptive Stats Measures of Housing Price</a:t>
            </a:r>
          </a:p>
        </p:txBody>
      </p:sp>
      <p:sp>
        <p:nvSpPr>
          <p:cNvPr id="5" name="TextBox 4">
            <a:extLst>
              <a:ext uri="{FF2B5EF4-FFF2-40B4-BE49-F238E27FC236}">
                <a16:creationId xmlns:a16="http://schemas.microsoft.com/office/drawing/2014/main" id="{16875CC6-72E5-4978-8595-9540ECD4C77C}"/>
              </a:ext>
            </a:extLst>
          </p:cNvPr>
          <p:cNvSpPr txBox="1"/>
          <p:nvPr/>
        </p:nvSpPr>
        <p:spPr>
          <a:xfrm>
            <a:off x="239517" y="2110629"/>
            <a:ext cx="4812633" cy="3754874"/>
          </a:xfrm>
          <a:prstGeom prst="rect">
            <a:avLst/>
          </a:prstGeom>
          <a:noFill/>
        </p:spPr>
        <p:txBody>
          <a:bodyPr wrap="square" rtlCol="0">
            <a:spAutoFit/>
          </a:bodyPr>
          <a:lstStyle/>
          <a:p>
            <a:pPr marL="285750" indent="-285750">
              <a:buFont typeface="Arial" panose="020B0604020202020204" pitchFamily="34" charset="0"/>
              <a:buChar char="•"/>
            </a:pPr>
            <a:r>
              <a:rPr lang="en-US" sz="1400" dirty="0"/>
              <a:t>Mean - $540,088</a:t>
            </a:r>
          </a:p>
          <a:p>
            <a:pPr marL="285750" indent="-285750">
              <a:buFont typeface="Arial" panose="020B0604020202020204" pitchFamily="34" charset="0"/>
              <a:buChar char="•"/>
            </a:pPr>
            <a:r>
              <a:rPr lang="en-US" sz="1400" dirty="0"/>
              <a:t>Median - $450,000</a:t>
            </a:r>
          </a:p>
          <a:p>
            <a:pPr marL="285750" indent="-285750">
              <a:buFont typeface="Arial" panose="020B0604020202020204" pitchFamily="34" charset="0"/>
              <a:buChar char="•"/>
            </a:pPr>
            <a:r>
              <a:rPr lang="en-US" sz="1400" dirty="0"/>
              <a:t>Mode - $450,000</a:t>
            </a:r>
          </a:p>
          <a:p>
            <a:pPr marL="285750" indent="-285750">
              <a:buFont typeface="Arial" panose="020B0604020202020204" pitchFamily="34" charset="0"/>
              <a:buChar char="•"/>
            </a:pPr>
            <a:r>
              <a:rPr lang="en-US" sz="1400" dirty="0"/>
              <a:t>Standard Deviation - 367,127</a:t>
            </a:r>
          </a:p>
          <a:p>
            <a:pPr marL="285750" indent="-285750">
              <a:buFont typeface="Arial" panose="020B0604020202020204" pitchFamily="34" charset="0"/>
              <a:buChar char="•"/>
            </a:pPr>
            <a:r>
              <a:rPr lang="en-US" sz="1400" dirty="0"/>
              <a:t>Skewness -  4.024</a:t>
            </a:r>
          </a:p>
          <a:p>
            <a:pPr marL="285750" indent="-285750">
              <a:buFont typeface="Arial" panose="020B0604020202020204" pitchFamily="34" charset="0"/>
              <a:buChar char="•"/>
            </a:pPr>
            <a:r>
              <a:rPr lang="en-US" sz="1400" dirty="0"/>
              <a:t>Range - 7,625,000</a:t>
            </a:r>
          </a:p>
          <a:p>
            <a:pPr marL="285750" indent="-285750">
              <a:buFont typeface="Arial" panose="020B0604020202020204" pitchFamily="34" charset="0"/>
              <a:buChar char="•"/>
            </a:pPr>
            <a:r>
              <a:rPr lang="en-US" sz="1400" dirty="0"/>
              <a:t>Min – 75,000</a:t>
            </a:r>
          </a:p>
          <a:p>
            <a:pPr marL="285750" indent="-285750">
              <a:buFont typeface="Arial" panose="020B0604020202020204" pitchFamily="34" charset="0"/>
              <a:buChar char="•"/>
            </a:pPr>
            <a:r>
              <a:rPr lang="en-US" sz="1400" dirty="0"/>
              <a:t>Max – 7,700,000</a:t>
            </a:r>
          </a:p>
          <a:p>
            <a:pPr marL="285750" indent="-285750">
              <a:buFont typeface="Arial" panose="020B0604020202020204" pitchFamily="34" charset="0"/>
              <a:buChar char="•"/>
            </a:pPr>
            <a:r>
              <a:rPr lang="en-US" sz="1400" dirty="0"/>
              <a:t># of records – 21,613</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Quartile Info</a:t>
            </a:r>
            <a:br>
              <a:rPr lang="en-US" sz="1400" dirty="0"/>
            </a:br>
            <a:endParaRPr lang="en-US" sz="1400" dirty="0"/>
          </a:p>
          <a:p>
            <a:pPr marL="742950" lvl="1" indent="-285750">
              <a:buFont typeface="Arial" panose="020B0604020202020204" pitchFamily="34" charset="0"/>
              <a:buChar char="•"/>
            </a:pPr>
            <a:r>
              <a:rPr lang="en-US" sz="1400" dirty="0"/>
              <a:t>Q1 - $321,725</a:t>
            </a:r>
          </a:p>
          <a:p>
            <a:pPr marL="742950" lvl="1" indent="-285750">
              <a:buFont typeface="Arial" panose="020B0604020202020204" pitchFamily="34" charset="0"/>
              <a:buChar char="•"/>
            </a:pPr>
            <a:r>
              <a:rPr lang="en-US" sz="1400" dirty="0"/>
              <a:t>Q3 - $645,000</a:t>
            </a:r>
          </a:p>
          <a:p>
            <a:pPr marL="742950" lvl="1" indent="-285750">
              <a:buFont typeface="Arial" panose="020B0604020202020204" pitchFamily="34" charset="0"/>
              <a:buChar char="•"/>
            </a:pPr>
            <a:r>
              <a:rPr lang="en-US" sz="1400" dirty="0"/>
              <a:t>Interquartile Range (IQR) - $323,275</a:t>
            </a:r>
          </a:p>
          <a:p>
            <a:pPr marL="742950" lvl="1" indent="-285750">
              <a:buFont typeface="Arial" panose="020B0604020202020204" pitchFamily="34" charset="0"/>
              <a:buChar char="•"/>
            </a:pPr>
            <a:r>
              <a:rPr lang="en-US" sz="1400" dirty="0"/>
              <a:t>Outlier threshold - $1,129,913</a:t>
            </a:r>
          </a:p>
          <a:p>
            <a:pPr marL="742950" lvl="1" indent="-285750">
              <a:buFont typeface="Arial" panose="020B0604020202020204" pitchFamily="34" charset="0"/>
              <a:buChar char="•"/>
            </a:pPr>
            <a:r>
              <a:rPr lang="en-US" sz="1400" dirty="0"/>
              <a:t># of “outliers” – 1,146</a:t>
            </a:r>
          </a:p>
        </p:txBody>
      </p:sp>
      <mc:AlternateContent xmlns:mc="http://schemas.openxmlformats.org/markup-compatibility/2006" xmlns:cx1="http://schemas.microsoft.com/office/drawing/2015/9/8/chartex">
        <mc:Choice Requires="cx1">
          <p:graphicFrame>
            <p:nvGraphicFramePr>
              <p:cNvPr id="14" name="Chart 13">
                <a:extLst>
                  <a:ext uri="{FF2B5EF4-FFF2-40B4-BE49-F238E27FC236}">
                    <a16:creationId xmlns:a16="http://schemas.microsoft.com/office/drawing/2014/main" id="{8105E54D-E85D-49A5-831D-7F71D34A7DF7}"/>
                  </a:ext>
                </a:extLst>
              </p:cNvPr>
              <p:cNvGraphicFramePr/>
              <p:nvPr>
                <p:extLst>
                  <p:ext uri="{D42A27DB-BD31-4B8C-83A1-F6EECF244321}">
                    <p14:modId xmlns:p14="http://schemas.microsoft.com/office/powerpoint/2010/main" val="4143538223"/>
                  </p:ext>
                </p:extLst>
              </p:nvPr>
            </p:nvGraphicFramePr>
            <p:xfrm>
              <a:off x="6388089" y="1039919"/>
              <a:ext cx="4524137" cy="2750654"/>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4" name="Chart 13">
                <a:extLst>
                  <a:ext uri="{FF2B5EF4-FFF2-40B4-BE49-F238E27FC236}">
                    <a16:creationId xmlns:a16="http://schemas.microsoft.com/office/drawing/2014/main" id="{8105E54D-E85D-49A5-831D-7F71D34A7DF7}"/>
                  </a:ext>
                </a:extLst>
              </p:cNvPr>
              <p:cNvPicPr>
                <a:picLocks noGrp="1" noRot="1" noChangeAspect="1" noMove="1" noResize="1" noEditPoints="1" noAdjustHandles="1" noChangeArrowheads="1" noChangeShapeType="1"/>
              </p:cNvPicPr>
              <p:nvPr/>
            </p:nvPicPr>
            <p:blipFill>
              <a:blip r:embed="rId4"/>
              <a:stretch>
                <a:fillRect/>
              </a:stretch>
            </p:blipFill>
            <p:spPr>
              <a:xfrm>
                <a:off x="6388089" y="1039919"/>
                <a:ext cx="4524137" cy="2750654"/>
              </a:xfrm>
              <a:prstGeom prst="rect">
                <a:avLst/>
              </a:prstGeom>
            </p:spPr>
          </p:pic>
        </mc:Fallback>
      </mc:AlternateContent>
      <p:pic>
        <p:nvPicPr>
          <p:cNvPr id="3" name="Picture 2">
            <a:extLst>
              <a:ext uri="{FF2B5EF4-FFF2-40B4-BE49-F238E27FC236}">
                <a16:creationId xmlns:a16="http://schemas.microsoft.com/office/drawing/2014/main" id="{BF02EC25-A6DE-431E-976B-ED7482D928D4}"/>
              </a:ext>
            </a:extLst>
          </p:cNvPr>
          <p:cNvPicPr>
            <a:picLocks noChangeAspect="1"/>
          </p:cNvPicPr>
          <p:nvPr/>
        </p:nvPicPr>
        <p:blipFill>
          <a:blip r:embed="rId5"/>
          <a:stretch>
            <a:fillRect/>
          </a:stretch>
        </p:blipFill>
        <p:spPr>
          <a:xfrm>
            <a:off x="6388088" y="3880344"/>
            <a:ext cx="4524137" cy="2952489"/>
          </a:xfrm>
          <a:prstGeom prst="rect">
            <a:avLst/>
          </a:prstGeom>
          <a:ln>
            <a:solidFill>
              <a:schemeClr val="tx1"/>
            </a:solidFill>
          </a:ln>
        </p:spPr>
      </p:pic>
      <p:sp>
        <p:nvSpPr>
          <p:cNvPr id="6" name="TextBox 5">
            <a:extLst>
              <a:ext uri="{FF2B5EF4-FFF2-40B4-BE49-F238E27FC236}">
                <a16:creationId xmlns:a16="http://schemas.microsoft.com/office/drawing/2014/main" id="{066F6192-56BF-464B-97B3-E4F82A818378}"/>
              </a:ext>
            </a:extLst>
          </p:cNvPr>
          <p:cNvSpPr txBox="1"/>
          <p:nvPr/>
        </p:nvSpPr>
        <p:spPr>
          <a:xfrm>
            <a:off x="11090246" y="5834279"/>
            <a:ext cx="631904" cy="215444"/>
          </a:xfrm>
          <a:prstGeom prst="rect">
            <a:avLst/>
          </a:prstGeom>
          <a:noFill/>
        </p:spPr>
        <p:txBody>
          <a:bodyPr wrap="none" rtlCol="0">
            <a:spAutoFit/>
          </a:bodyPr>
          <a:lstStyle/>
          <a:p>
            <a:r>
              <a:rPr lang="en-US" sz="800" dirty="0"/>
              <a:t>Quartile 1</a:t>
            </a:r>
          </a:p>
        </p:txBody>
      </p:sp>
      <p:cxnSp>
        <p:nvCxnSpPr>
          <p:cNvPr id="8" name="Straight Arrow Connector 7">
            <a:extLst>
              <a:ext uri="{FF2B5EF4-FFF2-40B4-BE49-F238E27FC236}">
                <a16:creationId xmlns:a16="http://schemas.microsoft.com/office/drawing/2014/main" id="{04AFCAE7-BB5E-4408-BE7B-E6E8C784F90F}"/>
              </a:ext>
            </a:extLst>
          </p:cNvPr>
          <p:cNvCxnSpPr>
            <a:cxnSpLocks/>
            <a:stCxn id="6" idx="1"/>
          </p:cNvCxnSpPr>
          <p:nvPr/>
        </p:nvCxnSpPr>
        <p:spPr>
          <a:xfrm flipH="1">
            <a:off x="10746298" y="5942001"/>
            <a:ext cx="3439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4688C8E-B8D8-49E9-B5D8-CFD8EA83D661}"/>
              </a:ext>
            </a:extLst>
          </p:cNvPr>
          <p:cNvSpPr txBox="1"/>
          <p:nvPr/>
        </p:nvSpPr>
        <p:spPr>
          <a:xfrm>
            <a:off x="11090246" y="5206503"/>
            <a:ext cx="631904" cy="215444"/>
          </a:xfrm>
          <a:prstGeom prst="rect">
            <a:avLst/>
          </a:prstGeom>
          <a:noFill/>
        </p:spPr>
        <p:txBody>
          <a:bodyPr wrap="none" rtlCol="0">
            <a:spAutoFit/>
          </a:bodyPr>
          <a:lstStyle/>
          <a:p>
            <a:r>
              <a:rPr lang="en-US" sz="800" dirty="0"/>
              <a:t>Quartile 3</a:t>
            </a:r>
          </a:p>
        </p:txBody>
      </p:sp>
      <p:cxnSp>
        <p:nvCxnSpPr>
          <p:cNvPr id="13" name="Straight Arrow Connector 12">
            <a:extLst>
              <a:ext uri="{FF2B5EF4-FFF2-40B4-BE49-F238E27FC236}">
                <a16:creationId xmlns:a16="http://schemas.microsoft.com/office/drawing/2014/main" id="{12D43BEA-A510-4A88-A557-6D14D0E419FA}"/>
              </a:ext>
            </a:extLst>
          </p:cNvPr>
          <p:cNvCxnSpPr>
            <a:cxnSpLocks/>
            <a:stCxn id="12" idx="1"/>
          </p:cNvCxnSpPr>
          <p:nvPr/>
        </p:nvCxnSpPr>
        <p:spPr>
          <a:xfrm flipH="1">
            <a:off x="10746298" y="5314225"/>
            <a:ext cx="3439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41455EE-C3A8-42FA-94CE-6DE0D25BAF4D}"/>
              </a:ext>
            </a:extLst>
          </p:cNvPr>
          <p:cNvSpPr txBox="1"/>
          <p:nvPr/>
        </p:nvSpPr>
        <p:spPr>
          <a:xfrm>
            <a:off x="11090246" y="5591559"/>
            <a:ext cx="522900" cy="215444"/>
          </a:xfrm>
          <a:prstGeom prst="rect">
            <a:avLst/>
          </a:prstGeom>
          <a:noFill/>
        </p:spPr>
        <p:txBody>
          <a:bodyPr wrap="none" rtlCol="0">
            <a:spAutoFit/>
          </a:bodyPr>
          <a:lstStyle/>
          <a:p>
            <a:r>
              <a:rPr lang="en-US" sz="800" dirty="0"/>
              <a:t>Median</a:t>
            </a:r>
          </a:p>
        </p:txBody>
      </p:sp>
      <p:cxnSp>
        <p:nvCxnSpPr>
          <p:cNvPr id="17" name="Straight Arrow Connector 16">
            <a:extLst>
              <a:ext uri="{FF2B5EF4-FFF2-40B4-BE49-F238E27FC236}">
                <a16:creationId xmlns:a16="http://schemas.microsoft.com/office/drawing/2014/main" id="{1F333131-1AD8-47A8-83D8-EEC4AB6F603F}"/>
              </a:ext>
            </a:extLst>
          </p:cNvPr>
          <p:cNvCxnSpPr>
            <a:cxnSpLocks/>
            <a:stCxn id="16" idx="1"/>
          </p:cNvCxnSpPr>
          <p:nvPr/>
        </p:nvCxnSpPr>
        <p:spPr>
          <a:xfrm flipH="1">
            <a:off x="10746298" y="5699281"/>
            <a:ext cx="3439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C6C8E44-D3F8-40E4-8C8F-7AFB8810B600}"/>
              </a:ext>
            </a:extLst>
          </p:cNvPr>
          <p:cNvSpPr txBox="1"/>
          <p:nvPr/>
        </p:nvSpPr>
        <p:spPr>
          <a:xfrm>
            <a:off x="10912225" y="2503452"/>
            <a:ext cx="631904" cy="215444"/>
          </a:xfrm>
          <a:prstGeom prst="rect">
            <a:avLst/>
          </a:prstGeom>
          <a:noFill/>
        </p:spPr>
        <p:txBody>
          <a:bodyPr wrap="square" rtlCol="0">
            <a:spAutoFit/>
          </a:bodyPr>
          <a:lstStyle/>
          <a:p>
            <a:r>
              <a:rPr lang="en-US" sz="800" dirty="0"/>
              <a:t>Outliers</a:t>
            </a:r>
          </a:p>
        </p:txBody>
      </p:sp>
      <p:cxnSp>
        <p:nvCxnSpPr>
          <p:cNvPr id="19" name="Straight Arrow Connector 18">
            <a:extLst>
              <a:ext uri="{FF2B5EF4-FFF2-40B4-BE49-F238E27FC236}">
                <a16:creationId xmlns:a16="http://schemas.microsoft.com/office/drawing/2014/main" id="{C3419328-2849-4222-987C-C26BB6BA0449}"/>
              </a:ext>
            </a:extLst>
          </p:cNvPr>
          <p:cNvCxnSpPr>
            <a:cxnSpLocks/>
          </p:cNvCxnSpPr>
          <p:nvPr/>
        </p:nvCxnSpPr>
        <p:spPr>
          <a:xfrm flipH="1" flipV="1">
            <a:off x="9051722" y="2206307"/>
            <a:ext cx="1860502" cy="3775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B2AF516-2D85-4CFD-8A79-59F5C8A52B13}"/>
              </a:ext>
            </a:extLst>
          </p:cNvPr>
          <p:cNvCxnSpPr>
            <a:cxnSpLocks/>
            <a:stCxn id="18" idx="1"/>
          </p:cNvCxnSpPr>
          <p:nvPr/>
        </p:nvCxnSpPr>
        <p:spPr>
          <a:xfrm flipH="1">
            <a:off x="9088531" y="2611174"/>
            <a:ext cx="1823694" cy="4058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Google Shape;77;p8">
            <a:extLst>
              <a:ext uri="{FF2B5EF4-FFF2-40B4-BE49-F238E27FC236}">
                <a16:creationId xmlns:a16="http://schemas.microsoft.com/office/drawing/2014/main" id="{11DC398F-9CF5-4333-86A7-CCA48D716762}"/>
              </a:ext>
            </a:extLst>
          </p:cNvPr>
          <p:cNvSpPr/>
          <p:nvPr/>
        </p:nvSpPr>
        <p:spPr>
          <a:xfrm>
            <a:off x="0" y="6346494"/>
            <a:ext cx="2033713"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80125" y="313141"/>
            <a:ext cx="11851815" cy="251159"/>
          </a:xfrm>
          <a:prstGeom prst="rect">
            <a:avLst/>
          </a:prstGeom>
          <a:noFill/>
          <a:ln>
            <a:noFill/>
          </a:ln>
        </p:spPr>
        <p:txBody>
          <a:bodyPr spcFirstLastPara="1" wrap="square" lIns="0" tIns="0" rIns="0" bIns="0" anchor="t" anchorCtr="0">
            <a:spAutoFit/>
          </a:bodyPr>
          <a:lstStyle/>
          <a:p>
            <a:r>
              <a:rPr lang="en-US" sz="1632" dirty="0">
                <a:solidFill>
                  <a:srgbClr val="002060"/>
                </a:solidFill>
              </a:rPr>
              <a:t>Frequency histograms for the different housing variables give insight into the relative distribution of each value bucket  </a:t>
            </a:r>
            <a:endParaRPr sz="1632" dirty="0">
              <a:solidFill>
                <a:srgbClr val="002060"/>
              </a:solidFill>
            </a:endParaRPr>
          </a:p>
        </p:txBody>
      </p:sp>
      <p:sp>
        <p:nvSpPr>
          <p:cNvPr id="26" name="TextBox 25">
            <a:extLst>
              <a:ext uri="{FF2B5EF4-FFF2-40B4-BE49-F238E27FC236}">
                <a16:creationId xmlns:a16="http://schemas.microsoft.com/office/drawing/2014/main" id="{2883D11B-1A80-423C-A365-C1D151D250A2}"/>
              </a:ext>
            </a:extLst>
          </p:cNvPr>
          <p:cNvSpPr txBox="1"/>
          <p:nvPr/>
        </p:nvSpPr>
        <p:spPr>
          <a:xfrm>
            <a:off x="185477" y="1392572"/>
            <a:ext cx="3883184" cy="3108543"/>
          </a:xfrm>
          <a:prstGeom prst="rect">
            <a:avLst/>
          </a:prstGeom>
          <a:noFill/>
        </p:spPr>
        <p:txBody>
          <a:bodyPr wrap="square" rtlCol="0">
            <a:spAutoFit/>
          </a:bodyPr>
          <a:lstStyle/>
          <a:p>
            <a:pPr marL="285750" indent="-285750">
              <a:buFont typeface="Arial" panose="020B0604020202020204" pitchFamily="34" charset="0"/>
              <a:buChar char="•"/>
            </a:pPr>
            <a:r>
              <a:rPr lang="en-US" sz="1400" dirty="0"/>
              <a:t>93% sold for &lt; $1MM</a:t>
            </a:r>
          </a:p>
          <a:p>
            <a:pPr marL="285750" indent="-285750">
              <a:buFont typeface="Arial" panose="020B0604020202020204" pitchFamily="34" charset="0"/>
              <a:buChar char="•"/>
            </a:pPr>
            <a:r>
              <a:rPr lang="en-US" sz="1400" dirty="0"/>
              <a:t>40% &gt;= 60 years old</a:t>
            </a:r>
          </a:p>
          <a:p>
            <a:pPr marL="285750" indent="-285750">
              <a:buFont typeface="Arial" panose="020B0604020202020204" pitchFamily="34" charset="0"/>
              <a:buChar char="•"/>
            </a:pPr>
            <a:r>
              <a:rPr lang="en-US" sz="1400" dirty="0"/>
              <a:t>14% &gt;= 3000 </a:t>
            </a:r>
            <a:r>
              <a:rPr lang="en-US" sz="1400" dirty="0" err="1"/>
              <a:t>sq</a:t>
            </a:r>
            <a:r>
              <a:rPr lang="en-US" sz="1400" dirty="0"/>
              <a:t> ft</a:t>
            </a:r>
          </a:p>
          <a:p>
            <a:pPr marL="285750" indent="-285750">
              <a:buFont typeface="Arial" panose="020B0604020202020204" pitchFamily="34" charset="0"/>
              <a:buChar char="•"/>
            </a:pPr>
            <a:r>
              <a:rPr lang="en-US" sz="1400" dirty="0"/>
              <a:t>65% are 3 (out of 5) condition and only 0.9% are rated below 3 </a:t>
            </a:r>
          </a:p>
          <a:p>
            <a:pPr marL="285750" indent="-285750">
              <a:buFont typeface="Arial" panose="020B0604020202020204" pitchFamily="34" charset="0"/>
              <a:buChar char="•"/>
            </a:pPr>
            <a:r>
              <a:rPr lang="en-US" sz="1400" dirty="0"/>
              <a:t>20% have grade rated 9 or above</a:t>
            </a:r>
          </a:p>
          <a:p>
            <a:pPr marL="285750" indent="-285750">
              <a:buFont typeface="Arial" panose="020B0604020202020204" pitchFamily="34" charset="0"/>
              <a:buChar char="•"/>
            </a:pPr>
            <a:r>
              <a:rPr lang="en-US" sz="1400" dirty="0"/>
              <a:t>59% have 3 bedrooms or less</a:t>
            </a:r>
          </a:p>
          <a:p>
            <a:pPr marL="285750" indent="-285750">
              <a:buFont typeface="Arial" panose="020B0604020202020204" pitchFamily="34" charset="0"/>
              <a:buChar char="•"/>
            </a:pPr>
            <a:r>
              <a:rPr lang="en-US" sz="1400" dirty="0"/>
              <a:t>48% have &lt; 3 bathrooms</a:t>
            </a:r>
          </a:p>
          <a:p>
            <a:pPr marL="285750" indent="-285750">
              <a:buFont typeface="Arial" panose="020B0604020202020204" pitchFamily="34" charset="0"/>
              <a:buChar char="•"/>
            </a:pPr>
            <a:r>
              <a:rPr lang="en-US" sz="1400" dirty="0"/>
              <a:t>71% have lot size &lt; 10,000 </a:t>
            </a:r>
            <a:r>
              <a:rPr lang="en-US" sz="1400" dirty="0" err="1"/>
              <a:t>sq</a:t>
            </a:r>
            <a:r>
              <a:rPr lang="en-US" sz="1400" dirty="0"/>
              <a:t> f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p:txBody>
      </p:sp>
      <p:sp>
        <p:nvSpPr>
          <p:cNvPr id="12" name="Google Shape;77;p8">
            <a:extLst>
              <a:ext uri="{FF2B5EF4-FFF2-40B4-BE49-F238E27FC236}">
                <a16:creationId xmlns:a16="http://schemas.microsoft.com/office/drawing/2014/main" id="{C5FAE3A1-E441-4E2A-B3A9-8095234D7BD3}"/>
              </a:ext>
            </a:extLst>
          </p:cNvPr>
          <p:cNvSpPr/>
          <p:nvPr/>
        </p:nvSpPr>
        <p:spPr>
          <a:xfrm>
            <a:off x="10075044" y="571325"/>
            <a:ext cx="2033713"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pic>
        <p:nvPicPr>
          <p:cNvPr id="4" name="Picture 3">
            <a:extLst>
              <a:ext uri="{FF2B5EF4-FFF2-40B4-BE49-F238E27FC236}">
                <a16:creationId xmlns:a16="http://schemas.microsoft.com/office/drawing/2014/main" id="{E40BF31C-690E-4278-91A0-837EA5E1E537}"/>
              </a:ext>
            </a:extLst>
          </p:cNvPr>
          <p:cNvPicPr>
            <a:picLocks noChangeAspect="1"/>
          </p:cNvPicPr>
          <p:nvPr/>
        </p:nvPicPr>
        <p:blipFill>
          <a:blip r:embed="rId3"/>
          <a:stretch>
            <a:fillRect/>
          </a:stretch>
        </p:blipFill>
        <p:spPr>
          <a:xfrm>
            <a:off x="26745" y="3700004"/>
            <a:ext cx="1980926" cy="1537659"/>
          </a:xfrm>
          <a:prstGeom prst="rect">
            <a:avLst/>
          </a:prstGeom>
        </p:spPr>
      </p:pic>
      <p:pic>
        <p:nvPicPr>
          <p:cNvPr id="7" name="Picture 6">
            <a:extLst>
              <a:ext uri="{FF2B5EF4-FFF2-40B4-BE49-F238E27FC236}">
                <a16:creationId xmlns:a16="http://schemas.microsoft.com/office/drawing/2014/main" id="{E0F476A0-8434-4CBB-AE8F-E85E2C8F1572}"/>
              </a:ext>
            </a:extLst>
          </p:cNvPr>
          <p:cNvPicPr>
            <a:picLocks noChangeAspect="1"/>
          </p:cNvPicPr>
          <p:nvPr/>
        </p:nvPicPr>
        <p:blipFill>
          <a:blip r:embed="rId4"/>
          <a:stretch>
            <a:fillRect/>
          </a:stretch>
        </p:blipFill>
        <p:spPr>
          <a:xfrm>
            <a:off x="2150379" y="3706988"/>
            <a:ext cx="2266158" cy="1552575"/>
          </a:xfrm>
          <a:prstGeom prst="rect">
            <a:avLst/>
          </a:prstGeom>
        </p:spPr>
      </p:pic>
      <p:pic>
        <p:nvPicPr>
          <p:cNvPr id="10" name="Picture 9">
            <a:extLst>
              <a:ext uri="{FF2B5EF4-FFF2-40B4-BE49-F238E27FC236}">
                <a16:creationId xmlns:a16="http://schemas.microsoft.com/office/drawing/2014/main" id="{B007C6F0-49C1-40C7-9E93-8F3C9423323F}"/>
              </a:ext>
            </a:extLst>
          </p:cNvPr>
          <p:cNvPicPr>
            <a:picLocks noChangeAspect="1"/>
          </p:cNvPicPr>
          <p:nvPr/>
        </p:nvPicPr>
        <p:blipFill>
          <a:blip r:embed="rId5"/>
          <a:stretch>
            <a:fillRect/>
          </a:stretch>
        </p:blipFill>
        <p:spPr>
          <a:xfrm>
            <a:off x="58225" y="5328542"/>
            <a:ext cx="1939210" cy="1461015"/>
          </a:xfrm>
          <a:prstGeom prst="rect">
            <a:avLst/>
          </a:prstGeom>
        </p:spPr>
      </p:pic>
      <p:pic>
        <p:nvPicPr>
          <p:cNvPr id="11" name="Picture 10">
            <a:extLst>
              <a:ext uri="{FF2B5EF4-FFF2-40B4-BE49-F238E27FC236}">
                <a16:creationId xmlns:a16="http://schemas.microsoft.com/office/drawing/2014/main" id="{2790DB9A-E81F-494A-987C-426D060F0E05}"/>
              </a:ext>
            </a:extLst>
          </p:cNvPr>
          <p:cNvPicPr>
            <a:picLocks noChangeAspect="1"/>
          </p:cNvPicPr>
          <p:nvPr/>
        </p:nvPicPr>
        <p:blipFill>
          <a:blip r:embed="rId6"/>
          <a:stretch>
            <a:fillRect/>
          </a:stretch>
        </p:blipFill>
        <p:spPr>
          <a:xfrm>
            <a:off x="8239252" y="4237998"/>
            <a:ext cx="3926004" cy="2239347"/>
          </a:xfrm>
          <a:prstGeom prst="rect">
            <a:avLst/>
          </a:prstGeom>
        </p:spPr>
      </p:pic>
      <p:pic>
        <p:nvPicPr>
          <p:cNvPr id="14" name="Picture 13">
            <a:extLst>
              <a:ext uri="{FF2B5EF4-FFF2-40B4-BE49-F238E27FC236}">
                <a16:creationId xmlns:a16="http://schemas.microsoft.com/office/drawing/2014/main" id="{5C0FF9C1-85C4-446D-994F-C475CF63F228}"/>
              </a:ext>
            </a:extLst>
          </p:cNvPr>
          <p:cNvPicPr>
            <a:picLocks noChangeAspect="1"/>
          </p:cNvPicPr>
          <p:nvPr/>
        </p:nvPicPr>
        <p:blipFill>
          <a:blip r:embed="rId7"/>
          <a:stretch>
            <a:fillRect/>
          </a:stretch>
        </p:blipFill>
        <p:spPr>
          <a:xfrm>
            <a:off x="2089635" y="5328543"/>
            <a:ext cx="2326902" cy="1412228"/>
          </a:xfrm>
          <a:prstGeom prst="rect">
            <a:avLst/>
          </a:prstGeom>
        </p:spPr>
      </p:pic>
      <p:pic>
        <p:nvPicPr>
          <p:cNvPr id="15" name="Picture 14">
            <a:extLst>
              <a:ext uri="{FF2B5EF4-FFF2-40B4-BE49-F238E27FC236}">
                <a16:creationId xmlns:a16="http://schemas.microsoft.com/office/drawing/2014/main" id="{AA515EDA-DBF1-4F3B-93C0-46C101D3437E}"/>
              </a:ext>
            </a:extLst>
          </p:cNvPr>
          <p:cNvPicPr>
            <a:picLocks noChangeAspect="1"/>
          </p:cNvPicPr>
          <p:nvPr/>
        </p:nvPicPr>
        <p:blipFill>
          <a:blip r:embed="rId8"/>
          <a:stretch>
            <a:fillRect/>
          </a:stretch>
        </p:blipFill>
        <p:spPr>
          <a:xfrm>
            <a:off x="4508737" y="4237999"/>
            <a:ext cx="3618349" cy="2239346"/>
          </a:xfrm>
          <a:prstGeom prst="rect">
            <a:avLst/>
          </a:prstGeom>
        </p:spPr>
      </p:pic>
      <p:pic>
        <p:nvPicPr>
          <p:cNvPr id="17" name="Picture 16">
            <a:extLst>
              <a:ext uri="{FF2B5EF4-FFF2-40B4-BE49-F238E27FC236}">
                <a16:creationId xmlns:a16="http://schemas.microsoft.com/office/drawing/2014/main" id="{51F94EBA-DEB8-4900-AEFF-4F9E27531152}"/>
              </a:ext>
            </a:extLst>
          </p:cNvPr>
          <p:cNvPicPr>
            <a:picLocks noChangeAspect="1"/>
          </p:cNvPicPr>
          <p:nvPr/>
        </p:nvPicPr>
        <p:blipFill>
          <a:blip r:embed="rId9"/>
          <a:stretch>
            <a:fillRect/>
          </a:stretch>
        </p:blipFill>
        <p:spPr>
          <a:xfrm>
            <a:off x="4488626" y="1171746"/>
            <a:ext cx="3552059" cy="2368407"/>
          </a:xfrm>
          <a:prstGeom prst="rect">
            <a:avLst/>
          </a:prstGeom>
        </p:spPr>
      </p:pic>
      <p:pic>
        <p:nvPicPr>
          <p:cNvPr id="19" name="Picture 18">
            <a:extLst>
              <a:ext uri="{FF2B5EF4-FFF2-40B4-BE49-F238E27FC236}">
                <a16:creationId xmlns:a16="http://schemas.microsoft.com/office/drawing/2014/main" id="{3B5DDEA8-DB55-428B-8D9E-633C7C927B95}"/>
              </a:ext>
            </a:extLst>
          </p:cNvPr>
          <p:cNvPicPr>
            <a:picLocks noChangeAspect="1"/>
          </p:cNvPicPr>
          <p:nvPr/>
        </p:nvPicPr>
        <p:blipFill>
          <a:blip r:embed="rId10"/>
          <a:stretch>
            <a:fillRect/>
          </a:stretch>
        </p:blipFill>
        <p:spPr>
          <a:xfrm>
            <a:off x="8123341" y="1115205"/>
            <a:ext cx="4034891" cy="2368406"/>
          </a:xfrm>
          <a:prstGeom prst="rect">
            <a:avLst/>
          </a:prstGeom>
        </p:spPr>
      </p:pic>
    </p:spTree>
    <p:extLst>
      <p:ext uri="{BB962C8B-B14F-4D97-AF65-F5344CB8AC3E}">
        <p14:creationId xmlns:p14="http://schemas.microsoft.com/office/powerpoint/2010/main" val="256898935"/>
      </p:ext>
    </p:extLst>
  </p:cSld>
  <p:clrMapOvr>
    <a:masterClrMapping/>
  </p:clrMapOvr>
</p:sld>
</file>

<file path=ppt/theme/theme1.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46</TotalTime>
  <Words>1273</Words>
  <Application>Microsoft Office PowerPoint</Application>
  <PresentationFormat>Widescreen</PresentationFormat>
  <Paragraphs>109</Paragraphs>
  <Slides>9</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Courier New</vt:lpstr>
      <vt:lpstr>1_Synergy_CF_YNR002</vt:lpstr>
      <vt:lpstr>TCLayout.ActiveDocument.1</vt:lpstr>
      <vt:lpstr>Springboard Data Analytics Program Capstone 1 Project    King County, WA Housing Price Analysis and Prediction Using Multiple Linear Regression</vt:lpstr>
      <vt:lpstr>For King County, WA,  a predictive pricing model that incorporates specific factors likely to influence housing pricing can be utilized by real estate professionals to estimate prices and increase market efficiency. </vt:lpstr>
      <vt:lpstr>EDA (exploratory data analysis) was initially conducted through visual scatterplots comparing housing price with other variables  which showed that some variables have linear relationships with price that may serve as good price predictors while other variables don’t appear strongly related to price. </vt:lpstr>
      <vt:lpstr>PowerPoint Presentation</vt:lpstr>
      <vt:lpstr>A statistical correlation analysis with housing price further confirmed likely variables that stood out in the previous visual analysis as having a significantly positive relationship with housing price (lead by house square feet, high grade rating, and # of bathrooms).</vt:lpstr>
      <vt:lpstr>A multiple linear regression model incorporated multiple variables most likely to influence housing price (while excluding those with weaker relationships for simplicity) and resulted in a R Square value of 0.632  (63.2% of price variability explained by the input variables).  This is more accurate than a simple linear regression only involving the highest correlated variable (sq feet living).</vt:lpstr>
      <vt:lpstr>Appendix – King County Housing Descriptive Statistics</vt:lpstr>
      <vt:lpstr>King county housing price – the dependent variable – is $540k on average and is highly positive skewed related to statistical outliers over $1.3 M</vt:lpstr>
      <vt:lpstr>Frequency histograms for the different housing variables give insight into the relative distribution of each value bucke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13 showed a ~20% spike in revenues Jan-March 2014 but a &gt;50% drop in revenues is expected Jan-April of 2015 due in large part to 4 month maintenance events in 2 plants.</dc:title>
  <dc:creator>Adam Muffitt</dc:creator>
  <cp:lastModifiedBy>Adam Muffitt</cp:lastModifiedBy>
  <cp:revision>7</cp:revision>
  <dcterms:created xsi:type="dcterms:W3CDTF">2020-02-25T13:55:10Z</dcterms:created>
  <dcterms:modified xsi:type="dcterms:W3CDTF">2020-03-16T15:53:32Z</dcterms:modified>
</cp:coreProperties>
</file>